
<file path=[Content_Types].xml><?xml version="1.0" encoding="utf-8"?>
<Types xmlns="http://schemas.openxmlformats.org/package/2006/content-types">
  <Override PartName="/ppt/slides/slide47.xml" ContentType="application/vnd.openxmlformats-officedocument.presentationml.slide+xml"/>
  <Override PartName="/ppt/slides/slide58.xml" ContentType="application/vnd.openxmlformats-officedocument.presentationml.slide+xml"/>
  <Override PartName="/ppt/tags/tag8.xml" ContentType="application/vnd.openxmlformats-officedocument.presentationml.tags+xml"/>
  <Override PartName="/ppt/slides/slide36.xml" ContentType="application/vnd.openxmlformats-officedocument.presentationml.slide+xml"/>
  <Override PartName="/ppt/slides/slide25.xml" ContentType="application/vnd.openxmlformats-officedocument.presentationml.slide+xml"/>
  <Override PartName="/ppt/slides/slide72.xml" ContentType="application/vnd.openxmlformats-officedocument.presentationml.slid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slides/slide5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charts/chart13.xml" ContentType="application/vnd.openxmlformats-officedocument.drawingml.chart+xml"/>
  <Override PartName="/ppt/tags/tag38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charts/chart7.xml" ContentType="application/vnd.openxmlformats-officedocument.drawingml.chart+xml"/>
  <Override PartName="/ppt/tags/tag34.xml" ContentType="application/vnd.openxmlformats-officedocument.presentationml.tags+xml"/>
  <Override PartName="/ppt/tags/tag52.xml" ContentType="application/vnd.openxmlformats-officedocument.presentationml.tags+xml"/>
  <Default Extension="xlsx" ContentType="application/vnd.openxmlformats-officedocument.spreadsheetml.sheet"/>
  <Override PartName="/ppt/charts/chart3.xml" ContentType="application/vnd.openxmlformats-officedocument.drawingml.chart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slides/slide77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48.xml" ContentType="application/vnd.openxmlformats-officedocument.presentationml.slide+xml"/>
  <Override PartName="/ppt/slides/slide66.xml" ContentType="application/vnd.openxmlformats-officedocument.presentationml.slide+xml"/>
  <Override PartName="/ppt/slideLayouts/slideLayout7.xml" ContentType="application/vnd.openxmlformats-officedocument.presentationml.slideLayout+xml"/>
  <Override PartName="/ppt/drawings/drawing3.xml" ContentType="application/vnd.openxmlformats-officedocument.drawingml.chartshapes+xml"/>
  <Default Extension="png" ContentType="image/png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55.xml" ContentType="application/vnd.openxmlformats-officedocument.presentationml.slide+xml"/>
  <Override PartName="/ppt/slides/slide73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charts/chart18.xml" ContentType="application/vnd.openxmlformats-officedocument.drawingml.chart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s/slide62.xml" ContentType="application/vnd.openxmlformats-officedocument.presentationml.slide+xml"/>
  <Override PartName="/ppt/slides/slide80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s/slide51.xml" ContentType="application/vnd.openxmlformats-officedocument.presentationml.slide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charts/chart14.xml" ContentType="application/vnd.openxmlformats-officedocument.drawingml.chart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40.xml" ContentType="application/vnd.openxmlformats-officedocument.presentationml.slide+xml"/>
  <Override PartName="/ppt/charts/chart8.xml" ContentType="application/vnd.openxmlformats-officedocument.drawingml.chart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charts/chart10.xml" ContentType="application/vnd.openxmlformats-officedocument.drawingml.chart+xml"/>
  <Override PartName="/ppt/tags/tag24.xml" ContentType="application/vnd.openxmlformats-officedocument.presentationml.tags+xml"/>
  <Override PartName="/ppt/tags/tag53.xml" ContentType="application/vnd.openxmlformats-officedocument.presentationml.tags+xml"/>
  <Default Extension="gif" ContentType="image/gif"/>
  <Override PartName="/ppt/tags/tag71.xml" ContentType="application/vnd.openxmlformats-officedocument.presentationml.tags+xml"/>
  <Override PartName="/ppt/charts/chart4.xml" ContentType="application/vnd.openxmlformats-officedocument.drawingml.chart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slides/slide49.xml" ContentType="application/vnd.openxmlformats-officedocument.presentationml.slide+xml"/>
  <Override PartName="/ppt/slides/slide7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s/slide56.xml" ContentType="application/vnd.openxmlformats-officedocument.presentationml.slide+xml"/>
  <Override PartName="/ppt/slides/slide67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drawings/drawing4.xml" ContentType="application/vnd.openxmlformats-officedocument.drawingml.chartshape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s/slide74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slides/slide63.xml" ContentType="application/vnd.openxmlformats-officedocument.presentationml.slide+xml"/>
  <Default Extension="xls" ContentType="application/vnd.ms-exce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slides/slide70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charts/chart15.xml" ContentType="application/vnd.openxmlformats-officedocument.drawingml.chart+xml"/>
  <Override PartName="/ppt/tags/tag76.xml" ContentType="application/vnd.openxmlformats-officedocument.presentationml.tags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charts/chart9.xml" ContentType="application/vnd.openxmlformats-officedocument.drawingml.chart+xml"/>
  <Override PartName="/ppt/charts/chart11.xml" ContentType="application/vnd.openxmlformats-officedocument.drawingml.char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slides/slide79.xml" ContentType="application/vnd.openxmlformats-officedocument.presentationml.slide+xml"/>
  <Override PartName="/ppt/charts/chart5.xml" ContentType="application/vnd.openxmlformats-officedocument.drawingml.chart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s/slide68.xml" ContentType="application/vnd.openxmlformats-officedocument.presentationml.slide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57.xml" ContentType="application/vnd.openxmlformats-officedocument.presentationml.slide+xml"/>
  <Override PartName="/ppt/slides/slide75.xml" ContentType="application/vnd.openxmlformats-officedocument.presentationml.slid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slides/slide64.xml" ContentType="application/vnd.openxmlformats-officedocument.presentationml.slide+xml"/>
  <Override PartName="/ppt/slideLayouts/slideLayout5.xml" ContentType="application/vnd.openxmlformats-officedocument.presentationml.slideLayout+xml"/>
  <Override PartName="/ppt/drawings/drawing1.xml" ContentType="application/vnd.openxmlformats-officedocument.drawingml.chartshapes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s/slide53.xml" ContentType="application/vnd.openxmlformats-officedocument.presentationml.slide+xml"/>
  <Override PartName="/ppt/slides/slide71.xml" ContentType="application/vnd.openxmlformats-officedocument.presentationml.slide+xml"/>
  <Default Extension="jpeg" ContentType="image/jpeg"/>
  <Override PartName="/ppt/tags/tag3.xml" ContentType="application/vnd.openxmlformats-officedocument.presentationml.tags+xml"/>
  <Override PartName="/ppt/tags/tag59.xml" ContentType="application/vnd.openxmlformats-officedocument.presentationml.tags+xml"/>
  <Override PartName="/ppt/charts/chart16.xml" ContentType="application/vnd.openxmlformats-officedocument.drawingml.chart+xml"/>
  <Override PartName="/ppt/tags/tag77.xml" ContentType="application/vnd.openxmlformats-officedocument.presentationml.tags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60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charts/chart12.xml" ContentType="application/vnd.openxmlformats-officedocument.drawingml.char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charts/chart6.xml" ContentType="application/vnd.openxmlformats-officedocument.drawingml.chart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slides/slide8.xml" ContentType="application/vnd.openxmlformats-officedocument.presentationml.slide+xml"/>
  <Override PartName="/ppt/slides/slide69.xml" ContentType="application/vnd.openxmlformats-officedocument.presentationml.slide+xml"/>
  <Override PartName="/ppt/charts/chart2.xml" ContentType="application/vnd.openxmlformats-officedocument.drawingml.chart+xml"/>
  <Override PartName="/ppt/tags/tag11.xml" ContentType="application/vnd.openxmlformats-officedocument.presentationml.tags+xml"/>
  <Override PartName="/ppt/slides/slide29.xml" ContentType="application/vnd.openxmlformats-officedocument.presentationml.slide+xml"/>
  <Override PartName="/ppt/slides/slide76.xml" ContentType="application/vnd.openxmlformats-officedocument.presentationml.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54.xml" ContentType="application/vnd.openxmlformats-officedocument.presentationml.slide+xml"/>
  <Override PartName="/ppt/slides/slide65.xml" ContentType="application/vnd.openxmlformats-officedocument.presentationml.slide+xml"/>
  <Override PartName="/ppt/slideLayouts/slideLayout6.xml" ContentType="application/vnd.openxmlformats-officedocument.presentationml.slideLayout+xml"/>
  <Override PartName="/ppt/drawings/drawing2.xml" ContentType="application/vnd.openxmlformats-officedocument.drawingml.chartshapes+xml"/>
  <Override PartName="/ppt/tags/tag4.xml" ContentType="application/vnd.openxmlformats-officedocument.presentationml.tags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charts/chart17.xml" ContentType="application/vnd.openxmlformats-officedocument.drawingml.chart+xml"/>
  <Override PartName="/ppt/tags/tag78.xml" ContentType="application/vnd.openxmlformats-officedocument.presentationml.tags+xml"/>
  <Override PartName="/ppt/slides/slide32.xml" ContentType="application/vnd.openxmlformats-officedocument.presentationml.slide+xml"/>
  <Override PartName="/ppt/tags/tag56.xml" ContentType="application/vnd.openxmlformats-officedocument.presentationml.tags+xml"/>
  <Override PartName="/ppt/tags/tag67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5" r:id="rId1"/>
  </p:sldMasterIdLst>
  <p:notesMasterIdLst>
    <p:notesMasterId r:id="rId82"/>
  </p:notesMasterIdLst>
  <p:handoutMasterIdLst>
    <p:handoutMasterId r:id="rId83"/>
  </p:handoutMasterIdLst>
  <p:sldIdLst>
    <p:sldId id="489" r:id="rId2"/>
    <p:sldId id="479" r:id="rId3"/>
    <p:sldId id="542" r:id="rId4"/>
    <p:sldId id="480" r:id="rId5"/>
    <p:sldId id="484" r:id="rId6"/>
    <p:sldId id="490" r:id="rId7"/>
    <p:sldId id="482" r:id="rId8"/>
    <p:sldId id="483" r:id="rId9"/>
    <p:sldId id="546" r:id="rId10"/>
    <p:sldId id="491" r:id="rId11"/>
    <p:sldId id="486" r:id="rId12"/>
    <p:sldId id="485" r:id="rId13"/>
    <p:sldId id="487" r:id="rId14"/>
    <p:sldId id="493" r:id="rId15"/>
    <p:sldId id="494" r:id="rId16"/>
    <p:sldId id="495" r:id="rId17"/>
    <p:sldId id="496" r:id="rId18"/>
    <p:sldId id="497" r:id="rId19"/>
    <p:sldId id="498" r:id="rId20"/>
    <p:sldId id="499" r:id="rId21"/>
    <p:sldId id="500" r:id="rId22"/>
    <p:sldId id="501" r:id="rId23"/>
    <p:sldId id="551" r:id="rId24"/>
    <p:sldId id="503" r:id="rId25"/>
    <p:sldId id="543" r:id="rId26"/>
    <p:sldId id="547" r:id="rId27"/>
    <p:sldId id="549" r:id="rId28"/>
    <p:sldId id="548" r:id="rId29"/>
    <p:sldId id="506" r:id="rId30"/>
    <p:sldId id="507" r:id="rId31"/>
    <p:sldId id="508" r:id="rId32"/>
    <p:sldId id="509" r:id="rId33"/>
    <p:sldId id="510" r:id="rId34"/>
    <p:sldId id="511" r:id="rId35"/>
    <p:sldId id="512" r:id="rId36"/>
    <p:sldId id="513" r:id="rId37"/>
    <p:sldId id="514" r:id="rId38"/>
    <p:sldId id="515" r:id="rId39"/>
    <p:sldId id="516" r:id="rId40"/>
    <p:sldId id="517" r:id="rId41"/>
    <p:sldId id="518" r:id="rId42"/>
    <p:sldId id="519" r:id="rId43"/>
    <p:sldId id="520" r:id="rId44"/>
    <p:sldId id="521" r:id="rId45"/>
    <p:sldId id="522" r:id="rId46"/>
    <p:sldId id="523" r:id="rId47"/>
    <p:sldId id="524" r:id="rId48"/>
    <p:sldId id="525" r:id="rId49"/>
    <p:sldId id="526" r:id="rId50"/>
    <p:sldId id="527" r:id="rId51"/>
    <p:sldId id="528" r:id="rId52"/>
    <p:sldId id="529" r:id="rId53"/>
    <p:sldId id="530" r:id="rId54"/>
    <p:sldId id="533" r:id="rId55"/>
    <p:sldId id="534" r:id="rId56"/>
    <p:sldId id="535" r:id="rId57"/>
    <p:sldId id="536" r:id="rId58"/>
    <p:sldId id="550" r:id="rId59"/>
    <p:sldId id="539" r:id="rId60"/>
    <p:sldId id="537" r:id="rId61"/>
    <p:sldId id="538" r:id="rId62"/>
    <p:sldId id="540" r:id="rId63"/>
    <p:sldId id="552" r:id="rId64"/>
    <p:sldId id="541" r:id="rId65"/>
    <p:sldId id="553" r:id="rId66"/>
    <p:sldId id="554" r:id="rId67"/>
    <p:sldId id="555" r:id="rId68"/>
    <p:sldId id="556" r:id="rId69"/>
    <p:sldId id="557" r:id="rId70"/>
    <p:sldId id="558" r:id="rId71"/>
    <p:sldId id="559" r:id="rId72"/>
    <p:sldId id="560" r:id="rId73"/>
    <p:sldId id="561" r:id="rId74"/>
    <p:sldId id="562" r:id="rId75"/>
    <p:sldId id="563" r:id="rId76"/>
    <p:sldId id="564" r:id="rId77"/>
    <p:sldId id="565" r:id="rId78"/>
    <p:sldId id="566" r:id="rId79"/>
    <p:sldId id="567" r:id="rId80"/>
    <p:sldId id="544" r:id="rId81"/>
  </p:sldIdLst>
  <p:sldSz cx="6858000" cy="9906000" type="A4"/>
  <p:notesSz cx="6858000" cy="9144000"/>
  <p:defaultTextStyle>
    <a:defPPr>
      <a:defRPr lang="fr-FR"/>
    </a:defPPr>
    <a:lvl1pPr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CCCC"/>
    <a:srgbClr val="B2FC9E"/>
    <a:srgbClr val="00FF99"/>
    <a:srgbClr val="FFCCFF"/>
    <a:srgbClr val="FF9999"/>
    <a:srgbClr val="FF7C80"/>
    <a:srgbClr val="00CC99"/>
    <a:srgbClr val="339966"/>
    <a:srgbClr val="66FF66"/>
    <a:srgbClr val="6699FF"/>
  </p:clrMru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27F97BB-C833-4FB7-BDE5-3F7075034690}" styleName="Стиль из темы 2 - акцент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75DCB02-9BB8-47FD-8907-85C794F793BA}" styleName="Стиль из темы 1 - акцент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E269D01E-BC32-4049-B463-5C60D7B0CCD2}" styleName="Стиль из темы 2 - акцент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929F9F4-4A8F-4326-A1B4-22849713DDAB}" styleName="Темный стиль 1 - акцент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06799F8-075E-4A3A-A7F6-7FBC6576F1A4}" styleName="Стиль из темы 2 - акцент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Стиль из темы 2 - акцент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D113A9D2-9D6B-4929-AA2D-F23B5EE8CBE7}" styleName="Стиль из темы 2 - акцент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Стиль из темы 2 - акцент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C4B1156A-380E-4F78-BDF5-A606A8083BF9}" styleName="Средний стиль 4 -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125E5076-3810-47DD-B79F-674D7AD40C01}" styleName="Темный стиль 1 - акцент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1EBBBCC-DAD2-459C-BE2E-F6DE35CF9A28}" styleName="Темный стиль 2 - акцент 3/акцент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660B408-B3CF-4A94-85FC-2B1E0A45F4A2}" styleName="Темный стиль 2 - акцент 1/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8A107856-5554-42FB-B03E-39F5DBC370BA}" styleName="Средний стиль 4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0505E3EF-67EA-436B-97B2-0124C06EBD24}" styleName="Средний стиль 4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vertBarState="maximized">
    <p:restoredLeft sz="14191" autoAdjust="0"/>
    <p:restoredTop sz="99243" autoAdjust="0"/>
  </p:normalViewPr>
  <p:slideViewPr>
    <p:cSldViewPr>
      <p:cViewPr>
        <p:scale>
          <a:sx n="72" d="100"/>
          <a:sy n="72" d="100"/>
        </p:scale>
        <p:origin x="-2010" y="-90"/>
      </p:cViewPr>
      <p:guideLst>
        <p:guide orient="horz" pos="3120"/>
        <p:guide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slide" Target="slides/slide75.xml"/><Relationship Id="rId84" Type="http://schemas.openxmlformats.org/officeDocument/2006/relationships/presProps" Target="presProps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87" Type="http://schemas.openxmlformats.org/officeDocument/2006/relationships/tableStyles" Target="tableStyle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notesMaster" Target="notesMasters/notesMaster1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viewProps" Target="view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0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1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2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3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4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5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6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7.xlsx"/></Relationships>
</file>

<file path=ppt/charts/_rels/chart1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package" Target="../embeddings/_____Microsoft_Office_Excel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3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Office_Excel4.xlsx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_____Microsoft_Office_Excel5.xlsx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_____Microsoft_Office_Excel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otX val="10"/>
      <c:rotY val="30"/>
      <c:depthPercent val="100"/>
      <c:rAngAx val="1"/>
    </c:view3D>
    <c:floor>
      <c:spPr>
        <a:solidFill>
          <a:srgbClr val="C0C0C0"/>
        </a:solidFill>
        <a:ln w="3175">
          <a:solidFill>
            <a:srgbClr val="000000"/>
          </a:solidFill>
          <a:prstDash val="solid"/>
        </a:ln>
      </c:spPr>
    </c:floor>
    <c:sideWall>
      <c:spPr>
        <a:noFill/>
        <a:ln w="25400">
          <a:noFill/>
        </a:ln>
      </c:spPr>
    </c:sideWall>
    <c:backWall>
      <c:spPr>
        <a:noFill/>
        <a:ln w="25400">
          <a:noFill/>
        </a:ln>
      </c:spPr>
    </c:backWall>
    <c:plotArea>
      <c:layout>
        <c:manualLayout>
          <c:layoutTarget val="inner"/>
          <c:xMode val="edge"/>
          <c:yMode val="edge"/>
          <c:x val="9.3377528166570564E-2"/>
          <c:y val="4.0667411958647808E-2"/>
          <c:w val="0.87319367961077476"/>
          <c:h val="0.72926095424631932"/>
        </c:manualLayout>
      </c:layout>
      <c:bar3D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Доходы</c:v>
                </c:pt>
              </c:strCache>
            </c:strRef>
          </c:tx>
          <c:spPr>
            <a:gradFill>
              <a:gsLst>
                <a:gs pos="0">
                  <a:srgbClr val="92D050"/>
                </a:gs>
                <a:gs pos="18000">
                  <a:srgbClr val="92D050"/>
                </a:gs>
                <a:gs pos="83000">
                  <a:srgbClr val="B2FC9E"/>
                </a:gs>
              </a:gsLst>
              <a:lin ang="5400000" scaled="0"/>
            </a:gradFill>
            <a:ln w="12000" cap="flat" cmpd="sng" algn="ctr">
              <a:solidFill>
                <a:schemeClr val="accent3"/>
              </a:solidFill>
              <a:prstDash val="solid"/>
            </a:ln>
            <a:effectLst>
              <a:glow rad="63500">
                <a:schemeClr val="accent3">
                  <a:alpha val="45000"/>
                  <a:satMod val="120000"/>
                </a:schemeClr>
              </a:glow>
            </a:effectLst>
            <a:scene3d>
              <a:camera prst="orthographicFront" fov="0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chemeClr val="accent3">
                  <a:tint val="70000"/>
                </a:schemeClr>
              </a:contourClr>
            </a:sp3d>
          </c:spPr>
          <c:dLbls>
            <c:dLbl>
              <c:idx val="0"/>
              <c:layout>
                <c:manualLayout>
                  <c:x val="-4.1004754918529424E-2"/>
                  <c:y val="1.7380966533911905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905,9</a:t>
                    </a:r>
                    <a:endParaRPr lang="en-US" dirty="0"/>
                  </a:p>
                </c:rich>
              </c:tx>
              <c:showVal val="1"/>
            </c:dLbl>
            <c:dLbl>
              <c:idx val="1"/>
              <c:layout>
                <c:manualLayout>
                  <c:x val="-8.9323151706554426E-3"/>
                  <c:y val="-5.6530303889055541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807,9</a:t>
                    </a:r>
                    <a:endParaRPr lang="en-US" dirty="0"/>
                  </a:p>
                </c:rich>
              </c:tx>
              <c:showVal val="1"/>
            </c:dLbl>
            <c:dLbl>
              <c:idx val="2"/>
              <c:layout>
                <c:manualLayout>
                  <c:x val="-1.0457443146916373E-2"/>
                  <c:y val="-5.0661238866744123E-3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956,9</a:t>
                    </a:r>
                    <a:endParaRPr lang="en-US" dirty="0"/>
                  </a:p>
                </c:rich>
              </c:tx>
              <c:showVal val="1"/>
            </c:dLbl>
            <c:dLbl>
              <c:idx val="3"/>
              <c:layout>
                <c:manualLayout>
                  <c:x val="-1.0457443146916373E-2"/>
                  <c:y val="2.5330619433372456E-3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2067,6</a:t>
                    </a:r>
                    <a:endParaRPr lang="en-US" dirty="0"/>
                  </a:p>
                </c:rich>
              </c:tx>
              <c:showVal val="1"/>
            </c:dLbl>
            <c:dLbl>
              <c:idx val="4"/>
              <c:layout>
                <c:manualLayout>
                  <c:x val="-1.0457443146916373E-2"/>
                  <c:y val="2.5330619433372092E-3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871,3</a:t>
                    </a:r>
                    <a:endParaRPr lang="en-US" dirty="0"/>
                  </a:p>
                </c:rich>
              </c:tx>
              <c:showVal val="1"/>
            </c:dLbl>
            <c:txPr>
              <a:bodyPr/>
              <a:lstStyle/>
              <a:p>
                <a:pPr>
                  <a:defRPr sz="1100"/>
                </a:pPr>
                <a:endParaRPr lang="ru-RU"/>
              </a:p>
            </c:txPr>
            <c:showVal val="1"/>
          </c:dLbls>
          <c:cat>
            <c:numRef>
              <c:f>Sheet1!$B$1:$F$1</c:f>
              <c:numCache>
                <c:formatCode>General</c:formatCode>
                <c:ptCount val="5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</c:numCache>
            </c:numRef>
          </c:cat>
          <c:val>
            <c:numRef>
              <c:f>Sheet1!$B$2:$F$2</c:f>
              <c:numCache>
                <c:formatCode>General</c:formatCode>
                <c:ptCount val="5"/>
                <c:pt idx="0">
                  <c:v>1905.9</c:v>
                </c:pt>
                <c:pt idx="1">
                  <c:v>1807.9</c:v>
                </c:pt>
                <c:pt idx="2">
                  <c:v>1956.9</c:v>
                </c:pt>
                <c:pt idx="3">
                  <c:v>2067.6</c:v>
                </c:pt>
                <c:pt idx="4">
                  <c:v>1871.3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Расходы</c:v>
                </c:pt>
              </c:strCache>
            </c:strRef>
          </c:tx>
          <c:spPr>
            <a:gradFill>
              <a:gsLst>
                <a:gs pos="0">
                  <a:srgbClr val="FF7C80"/>
                </a:gs>
                <a:gs pos="18000">
                  <a:srgbClr val="FF9999"/>
                </a:gs>
                <a:gs pos="100000">
                  <a:schemeClr val="accent4">
                    <a:lumMod val="40000"/>
                    <a:lumOff val="60000"/>
                  </a:schemeClr>
                </a:gs>
              </a:gsLst>
              <a:lin ang="5400000" scaled="0"/>
            </a:gradFill>
            <a:ln w="12000" cap="flat" cmpd="sng" algn="ctr">
              <a:solidFill>
                <a:schemeClr val="bg1"/>
              </a:solidFill>
              <a:prstDash val="solid"/>
            </a:ln>
            <a:effectLst>
              <a:glow rad="63500">
                <a:schemeClr val="accent5">
                  <a:alpha val="45000"/>
                  <a:satMod val="120000"/>
                </a:schemeClr>
              </a:glow>
            </a:effectLst>
            <a:scene3d>
              <a:camera prst="orthographicFront" fov="0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chemeClr val="accent5">
                  <a:tint val="70000"/>
                </a:schemeClr>
              </a:contourClr>
            </a:sp3d>
          </c:spPr>
          <c:dLbls>
            <c:dLbl>
              <c:idx val="0"/>
              <c:layout>
                <c:manualLayout>
                  <c:x val="-3.532064992939561E-3"/>
                  <c:y val="-4.1383819770552055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1842,</a:t>
                    </a:r>
                    <a:r>
                      <a:rPr lang="ru-RU" dirty="0" smtClean="0"/>
                      <a:t>3</a:t>
                    </a:r>
                    <a:endParaRPr lang="en-US" dirty="0"/>
                  </a:p>
                </c:rich>
              </c:tx>
              <c:showVal val="1"/>
            </c:dLbl>
            <c:dLbl>
              <c:idx val="1"/>
              <c:layout>
                <c:manualLayout>
                  <c:x val="2.5396647642511212E-2"/>
                  <c:y val="-5.0661238866744123E-3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866,2</a:t>
                    </a:r>
                    <a:endParaRPr lang="en-US" dirty="0"/>
                  </a:p>
                </c:rich>
              </c:tx>
              <c:showVal val="1"/>
            </c:dLbl>
            <c:dLbl>
              <c:idx val="2"/>
              <c:layout>
                <c:manualLayout>
                  <c:x val="4.9299374835463823E-2"/>
                  <c:y val="-7.5991858300115981E-3"/>
                </c:manualLayout>
              </c:layout>
              <c:showVal val="1"/>
            </c:dLbl>
            <c:dLbl>
              <c:idx val="3"/>
              <c:layout>
                <c:manualLayout>
                  <c:x val="4.0335852138106004E-2"/>
                  <c:y val="-2.5330619433372092E-3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2055,5</a:t>
                    </a:r>
                    <a:endParaRPr lang="en-US" dirty="0"/>
                  </a:p>
                </c:rich>
              </c:tx>
              <c:showVal val="1"/>
            </c:dLbl>
            <c:dLbl>
              <c:idx val="4"/>
              <c:layout>
                <c:manualLayout>
                  <c:x val="3.2866249890308605E-2"/>
                  <c:y val="-1.0132247773348538E-2"/>
                </c:manualLayout>
              </c:layout>
              <c:showVal val="1"/>
            </c:dLbl>
            <c:txPr>
              <a:bodyPr/>
              <a:lstStyle/>
              <a:p>
                <a:pPr>
                  <a:defRPr sz="1100"/>
                </a:pPr>
                <a:endParaRPr lang="ru-RU"/>
              </a:p>
            </c:txPr>
            <c:showVal val="1"/>
          </c:dLbls>
          <c:cat>
            <c:numRef>
              <c:f>Sheet1!$B$1:$F$1</c:f>
              <c:numCache>
                <c:formatCode>General</c:formatCode>
                <c:ptCount val="5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</c:numCache>
            </c:numRef>
          </c:cat>
          <c:val>
            <c:numRef>
              <c:f>Sheet1!$B$3:$F$3</c:f>
              <c:numCache>
                <c:formatCode>General</c:formatCode>
                <c:ptCount val="5"/>
                <c:pt idx="0">
                  <c:v>1842.29</c:v>
                </c:pt>
                <c:pt idx="1">
                  <c:v>1866.23</c:v>
                </c:pt>
                <c:pt idx="2">
                  <c:v>1956.9</c:v>
                </c:pt>
                <c:pt idx="3">
                  <c:v>2055.5</c:v>
                </c:pt>
                <c:pt idx="4">
                  <c:v>1871.3</c:v>
                </c:pt>
              </c:numCache>
            </c:numRef>
          </c:val>
        </c:ser>
        <c:gapDepth val="0"/>
        <c:shape val="cylinder"/>
        <c:axId val="109920640"/>
        <c:axId val="109922176"/>
        <c:axId val="0"/>
      </c:bar3DChart>
      <c:catAx>
        <c:axId val="109920640"/>
        <c:scaling>
          <c:orientation val="minMax"/>
        </c:scaling>
        <c:axPos val="b"/>
        <c:numFmt formatCode="General" sourceLinked="1"/>
        <c:tickLblPos val="low"/>
        <c:spPr>
          <a:ln w="3851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400" b="1" i="0" u="none" strike="noStrike" baseline="0">
                <a:solidFill>
                  <a:srgbClr val="000000"/>
                </a:solidFill>
                <a:latin typeface="Times New Roman" pitchFamily="18" charset="0"/>
                <a:ea typeface="Calibri"/>
                <a:cs typeface="Times New Roman" pitchFamily="18" charset="0"/>
              </a:defRPr>
            </a:pPr>
            <a:endParaRPr lang="ru-RU"/>
          </a:p>
        </c:txPr>
        <c:crossAx val="109922176"/>
        <c:crosses val="autoZero"/>
        <c:auto val="1"/>
        <c:lblAlgn val="ctr"/>
        <c:lblOffset val="100"/>
        <c:tickLblSkip val="1"/>
        <c:tickMarkSkip val="1"/>
      </c:catAx>
      <c:valAx>
        <c:axId val="109922176"/>
        <c:scaling>
          <c:orientation val="minMax"/>
        </c:scaling>
        <c:delete val="1"/>
        <c:axPos val="l"/>
        <c:numFmt formatCode="General" sourceLinked="1"/>
        <c:tickLblPos val="none"/>
        <c:crossAx val="109920640"/>
        <c:crosses val="autoZero"/>
        <c:crossBetween val="between"/>
      </c:valAx>
      <c:spPr>
        <a:noFill/>
        <a:ln w="25390">
          <a:noFill/>
        </a:ln>
        <a:scene3d>
          <a:camera prst="orthographicFront"/>
          <a:lightRig rig="threePt" dir="t"/>
        </a:scene3d>
        <a:sp3d>
          <a:bevelT w="6350"/>
        </a:sp3d>
      </c:spPr>
    </c:plotArea>
    <c:legend>
      <c:legendPos val="b"/>
      <c:layout/>
      <c:spPr>
        <a:noFill/>
        <a:ln w="30794">
          <a:noFill/>
        </a:ln>
      </c:spPr>
      <c:txPr>
        <a:bodyPr/>
        <a:lstStyle/>
        <a:p>
          <a:pPr>
            <a:defRPr sz="2000" b="1" i="0" u="none" strike="noStrike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2849" b="1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ru-RU"/>
    </a:p>
  </c:txPr>
  <c:externalData r:id="rId1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X val="30"/>
      <c:perspective val="30"/>
    </c:view3D>
    <c:plotArea>
      <c:layout/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explosion val="25"/>
          <c:dPt>
            <c:idx val="0"/>
            <c:explosion val="0"/>
            <c:spPr>
              <a:solidFill>
                <a:schemeClr val="accent1">
                  <a:lumMod val="60000"/>
                  <a:lumOff val="40000"/>
                </a:schemeClr>
              </a:solidFill>
            </c:spPr>
          </c:dPt>
          <c:dPt>
            <c:idx val="1"/>
            <c:spPr>
              <a:solidFill>
                <a:srgbClr val="FFCCCC"/>
              </a:solidFill>
            </c:spPr>
          </c:dPt>
          <c:dLbls>
            <c:dLbl>
              <c:idx val="0"/>
              <c:layout>
                <c:manualLayout>
                  <c:x val="-0.18564448084402299"/>
                  <c:y val="-0.13432560235382263"/>
                </c:manualLayout>
              </c:layout>
              <c:tx>
                <c:rich>
                  <a:bodyPr/>
                  <a:lstStyle/>
                  <a:p>
                    <a:r>
                      <a:rPr lang="en-US" sz="1400" dirty="0" smtClean="0">
                        <a:latin typeface="Times New Roman" pitchFamily="18" charset="0"/>
                        <a:cs typeface="Times New Roman" pitchFamily="18" charset="0"/>
                      </a:rPr>
                      <a:t>1</a:t>
                    </a:r>
                    <a:r>
                      <a:rPr lang="ru-RU" sz="1400" dirty="0" smtClean="0">
                        <a:latin typeface="Times New Roman" pitchFamily="18" charset="0"/>
                        <a:cs typeface="Times New Roman" pitchFamily="18" charset="0"/>
                      </a:rPr>
                      <a:t>234</a:t>
                    </a:r>
                    <a:r>
                      <a:rPr lang="en-US" sz="1400" dirty="0" smtClean="0">
                        <a:latin typeface="Times New Roman" pitchFamily="18" charset="0"/>
                        <a:cs typeface="Times New Roman" pitchFamily="18" charset="0"/>
                      </a:rPr>
                      <a:t>,</a:t>
                    </a:r>
                    <a:r>
                      <a:rPr lang="ru-RU" sz="1400" dirty="0" smtClean="0">
                        <a:latin typeface="Times New Roman" pitchFamily="18" charset="0"/>
                        <a:cs typeface="Times New Roman" pitchFamily="18" charset="0"/>
                      </a:rPr>
                      <a:t>1 </a:t>
                    </a:r>
                  </a:p>
                  <a:p>
                    <a:r>
                      <a:rPr lang="ru-RU" sz="1400" dirty="0" smtClean="0">
                        <a:latin typeface="Times New Roman" pitchFamily="18" charset="0"/>
                        <a:cs typeface="Times New Roman" pitchFamily="18" charset="0"/>
                      </a:rPr>
                      <a:t>(63,1%)</a:t>
                    </a:r>
                    <a:endParaRPr lang="en-US" sz="1400" dirty="0">
                      <a:latin typeface="Times New Roman" pitchFamily="18" charset="0"/>
                      <a:cs typeface="Times New Roman" pitchFamily="18" charset="0"/>
                    </a:endParaRPr>
                  </a:p>
                </c:rich>
              </c:tx>
              <c:dLblPos val="bestFit"/>
              <c:showVal val="1"/>
            </c:dLbl>
            <c:dLbl>
              <c:idx val="1"/>
              <c:layout>
                <c:manualLayout>
                  <c:x val="0.14581547110781451"/>
                  <c:y val="4.8721346560031851E-4"/>
                </c:manualLayout>
              </c:layout>
              <c:tx>
                <c:rich>
                  <a:bodyPr/>
                  <a:lstStyle/>
                  <a:p>
                    <a:r>
                      <a:rPr lang="ru-RU" sz="1400" dirty="0" smtClean="0">
                        <a:latin typeface="Times New Roman" pitchFamily="18" charset="0"/>
                        <a:cs typeface="Times New Roman" pitchFamily="18" charset="0"/>
                      </a:rPr>
                      <a:t>722</a:t>
                    </a:r>
                    <a:r>
                      <a:rPr lang="en-US" sz="1400" dirty="0" smtClean="0">
                        <a:latin typeface="Times New Roman" pitchFamily="18" charset="0"/>
                        <a:cs typeface="Times New Roman" pitchFamily="18" charset="0"/>
                      </a:rPr>
                      <a:t>,</a:t>
                    </a:r>
                    <a:r>
                      <a:rPr lang="ru-RU" sz="1400" dirty="0" smtClean="0">
                        <a:latin typeface="Times New Roman" pitchFamily="18" charset="0"/>
                        <a:cs typeface="Times New Roman" pitchFamily="18" charset="0"/>
                      </a:rPr>
                      <a:t>8</a:t>
                    </a:r>
                  </a:p>
                  <a:p>
                    <a:r>
                      <a:rPr lang="ru-RU" sz="1400" dirty="0" smtClean="0">
                        <a:latin typeface="Times New Roman" pitchFamily="18" charset="0"/>
                        <a:cs typeface="Times New Roman" pitchFamily="18" charset="0"/>
                      </a:rPr>
                      <a:t>(36,9%)</a:t>
                    </a:r>
                    <a:endParaRPr lang="en-US" sz="1400" dirty="0">
                      <a:latin typeface="Times New Roman" pitchFamily="18" charset="0"/>
                      <a:cs typeface="Times New Roman" pitchFamily="18" charset="0"/>
                    </a:endParaRPr>
                  </a:p>
                </c:rich>
              </c:tx>
              <c:dLblPos val="bestFit"/>
              <c:showVal val="1"/>
            </c:dLbl>
            <c:txPr>
              <a:bodyPr/>
              <a:lstStyle/>
              <a:p>
                <a:pPr>
                  <a:defRPr sz="140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dLblPos val="bestFit"/>
            <c:showVal val="1"/>
          </c:dLbls>
          <c:cat>
            <c:strRef>
              <c:f>Лист1!$A$2:$A$3</c:f>
              <c:strCache>
                <c:ptCount val="2"/>
                <c:pt idx="0">
                  <c:v>Расходы на отрасли социально-культурной сферы</c:v>
                </c:pt>
                <c:pt idx="1">
                  <c:v>Другие расходы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234.0999999999999</c:v>
                </c:pt>
                <c:pt idx="1">
                  <c:v>722.80000000000018</c:v>
                </c:pt>
              </c:numCache>
            </c:numRef>
          </c:val>
        </c:ser>
        <c:dLbls>
          <c:showVal val="1"/>
        </c:dLbls>
      </c:pie3DChart>
    </c:plotArea>
    <c:legend>
      <c:legendPos val="b"/>
      <c:layout/>
      <c:txPr>
        <a:bodyPr/>
        <a:lstStyle/>
        <a:p>
          <a:pPr>
            <a:defRPr sz="1200"/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4"/>
  <c:chart>
    <c:title>
      <c:tx>
        <c:rich>
          <a:bodyPr/>
          <a:lstStyle/>
          <a:p>
            <a:pPr>
              <a:defRPr sz="1400"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Расходы </a:t>
            </a:r>
            <a:r>
              <a:rPr lang="ru-RU" sz="1400" b="1" i="0" u="none" strike="noStrike" baseline="0" dirty="0" smtClean="0">
                <a:latin typeface="Times New Roman" pitchFamily="18" charset="0"/>
                <a:cs typeface="Times New Roman" pitchFamily="18" charset="0"/>
              </a:rPr>
              <a:t>на отрасли социально-культурной сферы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c:rich>
      </c:tx>
      <c:layout>
        <c:manualLayout>
          <c:xMode val="edge"/>
          <c:yMode val="edge"/>
          <c:x val="0.16114016608524576"/>
          <c:y val="0.12524476824641953"/>
        </c:manualLayout>
      </c:layout>
    </c:title>
    <c:view3D>
      <c:rotX val="10"/>
      <c:hPercent val="77"/>
      <c:depthPercent val="100"/>
      <c:rAngAx val="1"/>
    </c:view3D>
    <c:plotArea>
      <c:layout>
        <c:manualLayout>
          <c:layoutTarget val="inner"/>
          <c:xMode val="edge"/>
          <c:yMode val="edge"/>
          <c:x val="0.13120092365390518"/>
          <c:y val="0.10075764673259972"/>
          <c:w val="0.50702156517603758"/>
          <c:h val="0.88087012337972925"/>
        </c:manualLayout>
      </c:layout>
      <c:bar3DChart>
        <c:barDir val="col"/>
        <c:grouping val="clustered"/>
        <c:ser>
          <c:idx val="0"/>
          <c:order val="0"/>
          <c:tx>
            <c:strRef>
              <c:f>Sheet1!$A$3</c:f>
              <c:strCache>
                <c:ptCount val="1"/>
                <c:pt idx="0">
                  <c:v>Расходы</c:v>
                </c:pt>
              </c:strCache>
            </c:strRef>
          </c:tx>
          <c:dPt>
            <c:idx val="0"/>
            <c:spPr>
              <a:solidFill>
                <a:schemeClr val="accent5">
                  <a:lumMod val="40000"/>
                  <a:lumOff val="60000"/>
                </a:schemeClr>
              </a:solidFill>
            </c:spPr>
          </c:dPt>
          <c:dPt>
            <c:idx val="1"/>
            <c:spPr>
              <a:solidFill>
                <a:schemeClr val="accent3">
                  <a:lumMod val="40000"/>
                  <a:lumOff val="60000"/>
                </a:schemeClr>
              </a:solidFill>
            </c:spPr>
          </c:dPt>
          <c:dPt>
            <c:idx val="2"/>
            <c:spPr>
              <a:solidFill>
                <a:schemeClr val="tx2">
                  <a:lumMod val="40000"/>
                  <a:lumOff val="60000"/>
                </a:schemeClr>
              </a:solidFill>
            </c:spPr>
          </c:dPt>
          <c:dPt>
            <c:idx val="3"/>
            <c:spPr>
              <a:solidFill>
                <a:srgbClr val="FFCCCC"/>
              </a:solidFill>
            </c:spPr>
          </c:dPt>
          <c:dLbls>
            <c:txPr>
              <a:bodyPr/>
              <a:lstStyle/>
              <a:p>
                <a:pPr>
                  <a:defRPr sz="140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Sheet1!$B$1:$E$1</c:f>
              <c:strCache>
                <c:ptCount val="4"/>
                <c:pt idx="0">
                  <c:v>Социальная политика</c:v>
                </c:pt>
                <c:pt idx="1">
                  <c:v>Образование</c:v>
                </c:pt>
                <c:pt idx="2">
                  <c:v>Культура</c:v>
                </c:pt>
                <c:pt idx="3">
                  <c:v>Физ.культура и спорт</c:v>
                </c:pt>
              </c:strCache>
            </c:strRef>
          </c:cat>
          <c:val>
            <c:numRef>
              <c:f>Sheet1!$B$3:$E$3</c:f>
              <c:numCache>
                <c:formatCode>General</c:formatCode>
                <c:ptCount val="4"/>
                <c:pt idx="0">
                  <c:v>534.29999999999995</c:v>
                </c:pt>
                <c:pt idx="1">
                  <c:v>620.29999999999995</c:v>
                </c:pt>
                <c:pt idx="2">
                  <c:v>59.6</c:v>
                </c:pt>
                <c:pt idx="3">
                  <c:v>19.899999999999999</c:v>
                </c:pt>
              </c:numCache>
            </c:numRef>
          </c:val>
        </c:ser>
        <c:shape val="cylinder"/>
        <c:axId val="134685824"/>
        <c:axId val="134687360"/>
        <c:axId val="0"/>
      </c:bar3DChart>
      <c:catAx>
        <c:axId val="134685824"/>
        <c:scaling>
          <c:orientation val="minMax"/>
        </c:scaling>
        <c:delete val="1"/>
        <c:axPos val="b"/>
        <c:numFmt formatCode="General" sourceLinked="1"/>
        <c:majorTickMark val="none"/>
        <c:tickLblPos val="none"/>
        <c:crossAx val="134687360"/>
        <c:crosses val="autoZero"/>
        <c:auto val="1"/>
        <c:lblAlgn val="ctr"/>
        <c:lblOffset val="100"/>
        <c:tickLblSkip val="1"/>
        <c:tickMarkSkip val="1"/>
      </c:catAx>
      <c:valAx>
        <c:axId val="134687360"/>
        <c:scaling>
          <c:orientation val="minMax"/>
          <c:min val="0"/>
        </c:scaling>
        <c:delete val="1"/>
        <c:axPos val="l"/>
        <c:numFmt formatCode="General" sourceLinked="1"/>
        <c:majorTickMark val="none"/>
        <c:tickLblPos val="none"/>
        <c:crossAx val="134685824"/>
        <c:crosses val="autoZero"/>
        <c:crossBetween val="between"/>
      </c:valAx>
      <c:spPr>
        <a:effectLst>
          <a:outerShdw blurRad="50800" dist="749300" dir="5400000" algn="ctr" rotWithShape="0">
            <a:srgbClr val="4F81BD">
              <a:lumMod val="75000"/>
            </a:srgbClr>
          </a:outerShdw>
        </a:effectLst>
      </c:spPr>
    </c:plotArea>
    <c:legend>
      <c:legendPos val="r"/>
      <c:layout/>
      <c:txPr>
        <a:bodyPr/>
        <a:lstStyle/>
        <a:p>
          <a:pPr>
            <a:defRPr sz="1100"/>
          </a:pPr>
          <a:endParaRPr lang="ru-RU"/>
        </a:p>
      </c:txPr>
    </c:legend>
    <c:plotVisOnly val="1"/>
    <c:dispBlanksAs val="gap"/>
  </c:chart>
  <c:txPr>
    <a:bodyPr/>
    <a:lstStyle/>
    <a:p>
      <a:pPr>
        <a:defRPr sz="1800" b="1"/>
      </a:pPr>
      <a:endParaRPr lang="ru-RU"/>
    </a:p>
  </c:txPr>
  <c:externalData r:id="rId1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0.18958333333334054"/>
          <c:y val="3.437500000000001E-2"/>
          <c:w val="0.64375000000002303"/>
          <c:h val="0.9656250000000250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c:spPr>
          <c:explosion val="7"/>
          <c:dPt>
            <c:idx val="0"/>
            <c:spPr>
              <a:solidFill>
                <a:srgbClr val="7DBD63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c:spPr>
          </c:dPt>
          <c:dPt>
            <c:idx val="1"/>
            <c:spPr>
              <a:solidFill>
                <a:srgbClr val="E29C9A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c:spPr>
          </c:dPt>
          <c:dPt>
            <c:idx val="2"/>
            <c:spPr>
              <a:solidFill>
                <a:srgbClr val="83AEE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c:spPr>
          </c:dPt>
          <c:dPt>
            <c:idx val="3"/>
            <c:spPr>
              <a:solidFill>
                <a:srgbClr val="EEBB2A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c:spPr>
          </c:dPt>
          <c:dLbls>
            <c:delete val="1"/>
          </c:dLbls>
          <c:cat>
            <c:strRef>
              <c:f>Лист1!$A$2:$A$5</c:f>
              <c:strCache>
                <c:ptCount val="4"/>
                <c:pt idx="0">
                  <c:v>Кв. 1</c:v>
                </c:pt>
                <c:pt idx="1">
                  <c:v>Кв. 2</c:v>
                </c:pt>
                <c:pt idx="2">
                  <c:v>Кв. 3</c:v>
                </c:pt>
                <c:pt idx="3">
                  <c:v>Кв. 4</c:v>
                </c:pt>
              </c:strCache>
            </c:strRef>
          </c:cat>
          <c:val>
            <c:numRef>
              <c:f>Лист1!$B$2:$B$5</c:f>
              <c:numCache>
                <c:formatCode>#,##0.00</c:formatCode>
                <c:ptCount val="4"/>
                <c:pt idx="0">
                  <c:v>7968</c:v>
                </c:pt>
                <c:pt idx="1">
                  <c:v>8727.7999999999811</c:v>
                </c:pt>
                <c:pt idx="2">
                  <c:v>665.4</c:v>
                </c:pt>
                <c:pt idx="3">
                  <c:v>2047.9</c:v>
                </c:pt>
              </c:numCache>
            </c:numRef>
          </c:val>
        </c:ser>
        <c:dLbls>
          <c:showVal val="1"/>
        </c:dLbls>
        <c:firstSliceAng val="218"/>
      </c:pieChart>
    </c:plotArea>
    <c:plotVisOnly val="1"/>
    <c:dispBlanksAs val="zero"/>
  </c:chart>
  <c:txPr>
    <a:bodyPr/>
    <a:lstStyle/>
    <a:p>
      <a:pPr>
        <a:defRPr sz="1800"/>
      </a:pPr>
      <a:endParaRPr lang="ru-RU"/>
    </a:p>
  </c:txPr>
  <c:externalData r:id="rId1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X val="30"/>
      <c:rotY val="280"/>
      <c:perspective val="30"/>
    </c:view3D>
    <c:plotArea>
      <c:layout>
        <c:manualLayout>
          <c:layoutTarget val="inner"/>
          <c:xMode val="edge"/>
          <c:yMode val="edge"/>
          <c:x val="3.1541004999825054E-2"/>
          <c:y val="3.1040347118625883E-2"/>
          <c:w val="0.905376985000516"/>
          <c:h val="0.90405710890605673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41300" h="241300"/>
              <a:bevelB w="241300" h="241300"/>
            </a:sp3d>
          </c:spPr>
          <c:explosion val="25"/>
          <c:dPt>
            <c:idx val="0"/>
            <c:explosion val="32"/>
            <c:spPr>
              <a:solidFill>
                <a:schemeClr val="accent6">
                  <a:lumMod val="20000"/>
                  <a:lumOff val="80000"/>
                </a:schemeClr>
              </a:solidFill>
              <a:effectLst>
                <a:outerShdw blurRad="152400" dist="317500" dir="5400000" sx="90000" sy="-19000" rotWithShape="0">
                  <a:prstClr val="black">
                    <a:alpha val="15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41300" h="241300"/>
                <a:bevelB w="241300" h="241300"/>
              </a:sp3d>
            </c:spPr>
          </c:dPt>
          <c:dPt>
            <c:idx val="1"/>
            <c:explosion val="33"/>
            <c:spPr>
              <a:solidFill>
                <a:schemeClr val="accent6">
                  <a:lumMod val="60000"/>
                  <a:lumOff val="40000"/>
                </a:schemeClr>
              </a:solidFill>
              <a:effectLst>
                <a:outerShdw blurRad="152400" dist="317500" dir="5400000" sx="90000" sy="-19000" rotWithShape="0">
                  <a:prstClr val="black">
                    <a:alpha val="15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41300" h="241300"/>
                <a:bevelB w="241300" h="241300"/>
              </a:sp3d>
            </c:spPr>
          </c:dPt>
          <c:dLbls>
            <c:dLbl>
              <c:idx val="0"/>
              <c:layout>
                <c:manualLayout>
                  <c:x val="0.17508506896384438"/>
                  <c:y val="7.9422182938519215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5,9</a:t>
                    </a:r>
                    <a:endParaRPr lang="en-US" dirty="0"/>
                  </a:p>
                </c:rich>
              </c:tx>
              <c:dLblPos val="bestFit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0.37588933540860237"/>
                  <c:y val="-2.7448599007153282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4,3</a:t>
                    </a:r>
                    <a:endParaRPr lang="en-US" dirty="0"/>
                  </a:p>
                </c:rich>
              </c:tx>
              <c:dLblPos val="bestFit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0.13964366970820838"/>
                  <c:y val="-5.7302658271330534E-2"/>
                </c:manualLayout>
              </c:layout>
              <c:tx>
                <c:rich>
                  <a:bodyPr/>
                  <a:lstStyle/>
                  <a:p>
                    <a:pPr>
                      <a:defRPr sz="1600" b="1">
                        <a:solidFill>
                          <a:schemeClr val="bg1"/>
                        </a:solidFill>
                      </a:defRPr>
                    </a:pPr>
                    <a:r>
                      <a:rPr lang="ru-RU" dirty="0" smtClean="0">
                        <a:solidFill>
                          <a:schemeClr val="tx1"/>
                        </a:solidFill>
                      </a:rPr>
                      <a:t>6,2</a:t>
                    </a:r>
                    <a:endParaRPr lang="en-US" dirty="0">
                      <a:solidFill>
                        <a:schemeClr val="tx1"/>
                      </a:solidFill>
                    </a:endParaRPr>
                  </a:p>
                </c:rich>
              </c:tx>
              <c:spPr/>
              <c:dLblPos val="bestFit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1"/>
                </a:pPr>
                <a:endParaRPr lang="ru-RU"/>
              </a:p>
            </c:txPr>
            <c:dLblPos val="ctr"/>
            <c:showVal val="1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4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4</c:f>
              <c:numCache>
                <c:formatCode>#,##0.0</c:formatCode>
                <c:ptCount val="3"/>
                <c:pt idx="0">
                  <c:v>5.9</c:v>
                </c:pt>
                <c:pt idx="1">
                  <c:v>14.3</c:v>
                </c:pt>
                <c:pt idx="2">
                  <c:v>6.2</c:v>
                </c:pt>
              </c:numCache>
            </c:numRef>
          </c:val>
        </c:ser>
        <c:dLbls>
          <c:showVal val="1"/>
        </c:dLbls>
      </c:pie3DChart>
    </c:plotArea>
    <c:plotVisOnly val="1"/>
    <c:dispBlanksAs val="zero"/>
  </c:chart>
  <c:txPr>
    <a:bodyPr/>
    <a:lstStyle/>
    <a:p>
      <a:pPr>
        <a:defRPr sz="1800"/>
      </a:pPr>
      <a:endParaRPr lang="ru-RU"/>
    </a:p>
  </c:txPr>
  <c:externalData r:id="rId1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/>
      <c:barChart>
        <c:barDir val="bar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gradFill>
              <a:gsLst>
                <a:gs pos="99167">
                  <a:schemeClr val="accent6">
                    <a:lumMod val="75000"/>
                  </a:schemeClr>
                </a:gs>
                <a:gs pos="47000">
                  <a:schemeClr val="accent6">
                    <a:lumMod val="60000"/>
                    <a:lumOff val="40000"/>
                  </a:schemeClr>
                </a:gs>
                <a:gs pos="0">
                  <a:srgbClr val="EEDFA0"/>
                </a:gs>
              </a:gsLst>
              <a:lin ang="0" scaled="1"/>
            </a:gra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107950" h="107950"/>
            </a:sp3d>
          </c:spPr>
          <c:dPt>
            <c:idx val="0"/>
            <c:spPr>
              <a:solidFill>
                <a:schemeClr val="accent6">
                  <a:lumMod val="60000"/>
                  <a:lumOff val="40000"/>
                </a:schemeClr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107950" h="107950"/>
              </a:sp3d>
            </c:spPr>
          </c:dPt>
          <c:dPt>
            <c:idx val="1"/>
            <c:spPr>
              <a:solidFill>
                <a:schemeClr val="accent6">
                  <a:lumMod val="75000"/>
                </a:schemeClr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107950" h="107950"/>
              </a:sp3d>
            </c:spPr>
          </c:dPt>
          <c:dLbls>
            <c:dLbl>
              <c:idx val="0"/>
              <c:layout>
                <c:manualLayout>
                  <c:x val="-3.2905475782088051E-2"/>
                  <c:y val="0"/>
                </c:manualLayout>
              </c:layout>
              <c:dLblPos val="ctr"/>
              <c:showVal val="1"/>
            </c:dLbl>
            <c:dLbl>
              <c:idx val="1"/>
              <c:layout>
                <c:manualLayout>
                  <c:x val="-5.9229856407758366E-2"/>
                  <c:y val="8.807034354479761E-7"/>
                </c:manualLayout>
              </c:layout>
              <c:dLblPos val="ctr"/>
              <c:showVal val="1"/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ru-RU"/>
              </a:p>
            </c:txPr>
            <c:dLblPos val="ctr"/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01.01.2021</c:v>
                </c:pt>
                <c:pt idx="1">
                  <c:v>01.01.2022</c:v>
                </c:pt>
              </c:strCache>
            </c:strRef>
          </c:cat>
          <c:val>
            <c:numRef>
              <c:f>Лист1!$B$2:$B$3</c:f>
              <c:numCache>
                <c:formatCode>#,##0</c:formatCode>
                <c:ptCount val="2"/>
                <c:pt idx="0">
                  <c:v>12792</c:v>
                </c:pt>
                <c:pt idx="1">
                  <c:v>13617</c:v>
                </c:pt>
              </c:numCache>
            </c:numRef>
          </c:val>
        </c:ser>
        <c:gapWidth val="10"/>
        <c:overlap val="18"/>
        <c:axId val="159053312"/>
        <c:axId val="159054848"/>
      </c:barChart>
      <c:catAx>
        <c:axId val="159053312"/>
        <c:scaling>
          <c:orientation val="maxMin"/>
        </c:scaling>
        <c:axPos val="l"/>
        <c:numFmt formatCode="General" sourceLinked="1"/>
        <c:tickLblPos val="nextTo"/>
        <c:txPr>
          <a:bodyPr/>
          <a:lstStyle/>
          <a:p>
            <a:pPr>
              <a:defRPr sz="1400" b="1"/>
            </a:pPr>
            <a:endParaRPr lang="ru-RU"/>
          </a:p>
        </c:txPr>
        <c:crossAx val="159054848"/>
        <c:crosses val="autoZero"/>
        <c:auto val="1"/>
        <c:lblAlgn val="ctr"/>
        <c:lblOffset val="100"/>
      </c:catAx>
      <c:valAx>
        <c:axId val="159054848"/>
        <c:scaling>
          <c:orientation val="minMax"/>
          <c:max val="12300"/>
          <c:min val="1000"/>
        </c:scaling>
        <c:delete val="1"/>
        <c:axPos val="t"/>
        <c:numFmt formatCode="#,##0" sourceLinked="1"/>
        <c:tickLblPos val="none"/>
        <c:crossAx val="159053312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4.1944058463280011E-2"/>
          <c:y val="7.389740062612693E-2"/>
          <c:w val="0.95752561206404196"/>
          <c:h val="0.71624971884662991"/>
        </c:manualLayout>
      </c:layout>
      <c:lineChart>
        <c:grouping val="standard"/>
        <c:ser>
          <c:idx val="0"/>
          <c:order val="0"/>
          <c:tx>
            <c:strRef>
              <c:f>Лист1!$B$1</c:f>
              <c:strCache>
                <c:ptCount val="1"/>
                <c:pt idx="0">
                  <c:v>Расходы, млн. рублей</c:v>
                </c:pt>
              </c:strCache>
            </c:strRef>
          </c:tx>
          <c:spPr>
            <a:ln w="76200">
              <a:solidFill>
                <a:schemeClr val="accent6">
                  <a:lumMod val="60000"/>
                  <a:lumOff val="40000"/>
                </a:schemeClr>
              </a:solidFill>
            </a:ln>
          </c:spPr>
          <c:marker>
            <c:symbol val="circle"/>
            <c:size val="23"/>
            <c:spPr>
              <a:solidFill>
                <a:schemeClr val="accent6">
                  <a:lumMod val="75000"/>
                </a:schemeClr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c:spPr>
          </c:marker>
          <c:dLbls>
            <c:dLbl>
              <c:idx val="0"/>
              <c:tx>
                <c:rich>
                  <a:bodyPr/>
                  <a:lstStyle/>
                  <a:p>
                    <a:r>
                      <a:rPr lang="ru-RU" dirty="0" smtClean="0"/>
                      <a:t>160,8</a:t>
                    </a:r>
                    <a:endParaRPr lang="en-US" dirty="0"/>
                  </a:p>
                </c:rich>
              </c:tx>
              <c:dLblPos val="t"/>
              <c:showVal val="1"/>
            </c:dLbl>
            <c:dLbl>
              <c:idx val="1"/>
              <c:tx>
                <c:rich>
                  <a:bodyPr/>
                  <a:lstStyle/>
                  <a:p>
                    <a:r>
                      <a:rPr lang="ru-RU" dirty="0" smtClean="0"/>
                      <a:t>76,5</a:t>
                    </a:r>
                    <a:endParaRPr lang="en-US" dirty="0"/>
                  </a:p>
                </c:rich>
              </c:tx>
              <c:dLblPos val="t"/>
              <c:showVal val="1"/>
            </c:dLbl>
            <c:dLbl>
              <c:idx val="2"/>
              <c:tx>
                <c:rich>
                  <a:bodyPr/>
                  <a:lstStyle/>
                  <a:p>
                    <a:r>
                      <a:rPr lang="ru-RU" dirty="0" smtClean="0"/>
                      <a:t>83,7</a:t>
                    </a:r>
                    <a:endParaRPr lang="en-US" dirty="0"/>
                  </a:p>
                </c:rich>
              </c:tx>
              <c:dLblPos val="t"/>
              <c:showVal val="1"/>
            </c:dLbl>
            <c:dLbl>
              <c:idx val="3"/>
              <c:tx>
                <c:rich>
                  <a:bodyPr/>
                  <a:lstStyle/>
                  <a:p>
                    <a:r>
                      <a:rPr lang="ru-RU" dirty="0" smtClean="0"/>
                      <a:t>20,4</a:t>
                    </a:r>
                    <a:endParaRPr lang="en-US" dirty="0"/>
                  </a:p>
                </c:rich>
              </c:tx>
              <c:dLblPos val="t"/>
              <c:showVal val="1"/>
            </c:dLbl>
            <c:dLbl>
              <c:idx val="4"/>
              <c:layout>
                <c:manualLayout>
                  <c:x val="6.4267785814531575E-2"/>
                  <c:y val="2.4026788923713391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21,0</a:t>
                    </a:r>
                    <a:endParaRPr lang="en-US" dirty="0"/>
                  </a:p>
                </c:rich>
              </c:tx>
              <c:dLblPos val="t"/>
              <c:showVal val="1"/>
            </c:dLbl>
            <c:dLbl>
              <c:idx val="5"/>
              <c:layout>
                <c:manualLayout>
                  <c:x val="2.7135287343913309E-2"/>
                  <c:y val="-5.3392864274919034E-3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21,0</a:t>
                    </a:r>
                    <a:endParaRPr lang="en-US" dirty="0"/>
                  </a:p>
                </c:rich>
              </c:tx>
              <c:dLblPos val="t"/>
              <c:showVal val="1"/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1">
                    <a:solidFill>
                      <a:schemeClr val="tx1">
                        <a:lumMod val="75000"/>
                        <a:lumOff val="25000"/>
                      </a:schemeClr>
                    </a:solidFill>
                  </a:defRPr>
                </a:pPr>
                <a:endParaRPr lang="ru-RU"/>
              </a:p>
            </c:txPr>
            <c:dLblPos val="t"/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7</c:f>
              <c:strCache>
                <c:ptCount val="6"/>
                <c:pt idx="0">
                  <c:v>2019
(отчет)</c:v>
                </c:pt>
                <c:pt idx="1">
                  <c:v>2020 
(отчет)</c:v>
                </c:pt>
                <c:pt idx="2">
                  <c:v>2021 
(оценка)</c:v>
                </c:pt>
                <c:pt idx="3">
                  <c:v>2022 
(проект)</c:v>
                </c:pt>
                <c:pt idx="4">
                  <c:v>2023 
(проект)</c:v>
                </c:pt>
                <c:pt idx="5">
                  <c:v>2024 
(проект)</c:v>
                </c:pt>
              </c:strCache>
            </c:strRef>
          </c:cat>
          <c:val>
            <c:numRef>
              <c:f>Лист1!$B$2:$B$7</c:f>
              <c:numCache>
                <c:formatCode>_-* #,##0.0_р_._-;\-* #,##0.0_р_._-;_-* "-"?_р_._-;_-@_-</c:formatCode>
                <c:ptCount val="6"/>
                <c:pt idx="0">
                  <c:v>160.80000000000001</c:v>
                </c:pt>
                <c:pt idx="1">
                  <c:v>76.5</c:v>
                </c:pt>
                <c:pt idx="2">
                  <c:v>83.7</c:v>
                </c:pt>
                <c:pt idx="3">
                  <c:v>20.399999999999999</c:v>
                </c:pt>
                <c:pt idx="4">
                  <c:v>21</c:v>
                </c:pt>
                <c:pt idx="5">
                  <c:v>21</c:v>
                </c:pt>
              </c:numCache>
            </c:numRef>
          </c:val>
        </c:ser>
        <c:marker val="1"/>
        <c:axId val="122317440"/>
        <c:axId val="122323328"/>
      </c:lineChart>
      <c:catAx>
        <c:axId val="122317440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lnSpc>
                <a:spcPts val="1600"/>
              </a:lnSpc>
              <a:defRPr sz="1800" b="1">
                <a:solidFill>
                  <a:srgbClr val="5C5C5C"/>
                </a:solidFill>
                <a:latin typeface="Calibri" pitchFamily="34" charset="0"/>
                <a:cs typeface="Times New Roman" pitchFamily="18" charset="0"/>
              </a:defRPr>
            </a:pPr>
            <a:endParaRPr lang="ru-RU"/>
          </a:p>
        </c:txPr>
        <c:crossAx val="122323328"/>
        <c:crosses val="autoZero"/>
        <c:auto val="1"/>
        <c:lblAlgn val="ctr"/>
        <c:lblOffset val="100"/>
      </c:catAx>
      <c:valAx>
        <c:axId val="122323328"/>
        <c:scaling>
          <c:orientation val="minMax"/>
        </c:scaling>
        <c:delete val="1"/>
        <c:axPos val="l"/>
        <c:numFmt formatCode="_-* #,##0.0_р_._-;\-* #,##0.0_р_._-;_-* &quot;-&quot;?_р_._-;_-@_-" sourceLinked="1"/>
        <c:tickLblPos val="none"/>
        <c:crossAx val="122317440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X val="30"/>
      <c:perspective val="30"/>
    </c:view3D>
    <c:plotArea>
      <c:layout>
        <c:manualLayout>
          <c:layoutTarget val="inner"/>
          <c:xMode val="edge"/>
          <c:yMode val="edge"/>
          <c:x val="3.6897016386289887E-2"/>
          <c:y val="3.104034711862488E-2"/>
          <c:w val="0.96310298361371061"/>
          <c:h val="0.87488495962977475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explosion val="25"/>
          <c:dPt>
            <c:idx val="0"/>
            <c:spPr>
              <a:solidFill>
                <a:schemeClr val="accent2">
                  <a:lumMod val="40000"/>
                  <a:lumOff val="60000"/>
                </a:schemeClr>
              </a:solidFill>
            </c:spPr>
          </c:dPt>
          <c:dPt>
            <c:idx val="1"/>
            <c:spPr>
              <a:solidFill>
                <a:schemeClr val="tx2">
                  <a:lumMod val="40000"/>
                  <a:lumOff val="60000"/>
                </a:schemeClr>
              </a:solidFill>
            </c:spPr>
          </c:dPt>
          <c:dLbls>
            <c:delete val="1"/>
          </c:dLbls>
          <c:cat>
            <c:strRef>
              <c:f>Лист1!$A$2:$A$3</c:f>
              <c:strCache>
                <c:ptCount val="2"/>
                <c:pt idx="0">
                  <c:v>Программная часть бюджета 94,9%</c:v>
                </c:pt>
                <c:pt idx="1">
                  <c:v>Непрограммная часть бюджета 5,1%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858</c:v>
                </c:pt>
                <c:pt idx="1">
                  <c:v>98.9</c:v>
                </c:pt>
              </c:numCache>
            </c:numRef>
          </c:val>
        </c:ser>
        <c:dLbls>
          <c:showVal val="1"/>
        </c:dLbls>
      </c:pie3DChart>
    </c:plotArea>
    <c:legend>
      <c:legendPos val="b"/>
      <c:layout>
        <c:manualLayout>
          <c:xMode val="edge"/>
          <c:yMode val="edge"/>
          <c:x val="7.6043245310486937E-2"/>
          <c:y val="0.71686137429859875"/>
          <c:w val="0.88481052576531083"/>
          <c:h val="0.13922428906051071"/>
        </c:manualLayout>
      </c:layout>
      <c:txPr>
        <a:bodyPr/>
        <a:lstStyle/>
        <a:p>
          <a:pPr>
            <a:defRPr sz="1400"/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4.5223226179348934E-4"/>
          <c:y val="0.24596698570781902"/>
          <c:w val="0.54063597575798217"/>
          <c:h val="0.45185887279311931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ln>
              <a:solidFill>
                <a:srgbClr val="4D4D4D"/>
              </a:solidFill>
            </a:ln>
            <a:scene3d>
              <a:camera prst="orthographicFront"/>
              <a:lightRig rig="contrasting" dir="t"/>
            </a:scene3d>
            <a:sp3d>
              <a:bevelT/>
            </a:sp3d>
          </c:spPr>
          <c:explosion val="25"/>
          <c:dPt>
            <c:idx val="2"/>
            <c:spPr>
              <a:gradFill>
                <a:gsLst>
                  <a:gs pos="50000">
                    <a:srgbClr val="CC00FF"/>
                  </a:gs>
                  <a:gs pos="100000">
                    <a:srgbClr val="FFCCFF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3"/>
            <c:spPr>
              <a:gradFill>
                <a:gsLst>
                  <a:gs pos="50000">
                    <a:srgbClr val="FF0000"/>
                  </a:gs>
                  <a:gs pos="100000">
                    <a:srgbClr val="FFCCCC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4"/>
            <c:spPr>
              <a:gradFill>
                <a:gsLst>
                  <a:gs pos="50000">
                    <a:srgbClr val="00CCFF"/>
                  </a:gs>
                  <a:gs pos="100000">
                    <a:srgbClr val="CCFFFF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5"/>
            <c:spPr>
              <a:gradFill>
                <a:gsLst>
                  <a:gs pos="50000">
                    <a:srgbClr val="FF33CC"/>
                  </a:gs>
                  <a:gs pos="100000">
                    <a:srgbClr val="FFCCCC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6"/>
            <c:spPr>
              <a:gradFill>
                <a:gsLst>
                  <a:gs pos="50000">
                    <a:srgbClr val="3333FF"/>
                  </a:gs>
                  <a:gs pos="100000">
                    <a:srgbClr val="99CCFF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7"/>
            <c:spPr>
              <a:gradFill>
                <a:gsLst>
                  <a:gs pos="50000">
                    <a:srgbClr val="FF6600"/>
                  </a:gs>
                  <a:gs pos="100000">
                    <a:srgbClr val="FFCCCC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8"/>
            <c:spPr>
              <a:gradFill>
                <a:gsLst>
                  <a:gs pos="50000">
                    <a:schemeClr val="accent3">
                      <a:lumMod val="50000"/>
                    </a:schemeClr>
                  </a:gs>
                  <a:gs pos="100000">
                    <a:srgbClr val="16A085">
                      <a:lumMod val="60000"/>
                      <a:lumOff val="40000"/>
                    </a:srgbClr>
                  </a:gs>
                  <a:gs pos="100000">
                    <a:srgbClr val="16A085">
                      <a:lumMod val="20000"/>
                      <a:lumOff val="80000"/>
                    </a:srgbClr>
                  </a:gs>
                </a:gsLst>
                <a:lin ang="108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9"/>
            <c:spPr>
              <a:gradFill>
                <a:gsLst>
                  <a:gs pos="0">
                    <a:srgbClr val="666633"/>
                  </a:gs>
                  <a:gs pos="50000">
                    <a:srgbClr val="CCCC00"/>
                  </a:gs>
                  <a:gs pos="100000">
                    <a:srgbClr val="FFFF66"/>
                  </a:gs>
                </a:gsLst>
                <a:lin ang="126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10"/>
            <c:spPr>
              <a:gradFill>
                <a:gsLst>
                  <a:gs pos="0">
                    <a:srgbClr val="800000"/>
                  </a:gs>
                  <a:gs pos="50000">
                    <a:srgbClr val="A50021"/>
                  </a:gs>
                  <a:gs pos="100000">
                    <a:srgbClr val="FF9999"/>
                  </a:gs>
                </a:gsLst>
                <a:lin ang="138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11"/>
            <c:spPr>
              <a:gradFill>
                <a:gsLst>
                  <a:gs pos="50000">
                    <a:srgbClr val="3366CC"/>
                  </a:gs>
                  <a:gs pos="100000">
                    <a:srgbClr val="00FFFF"/>
                  </a:gs>
                  <a:gs pos="100000">
                    <a:srgbClr val="CCFFFF"/>
                  </a:gs>
                </a:gsLst>
                <a:lin ang="174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12"/>
            <c:spPr>
              <a:gradFill flip="none" rotWithShape="1">
                <a:gsLst>
                  <a:gs pos="0">
                    <a:srgbClr val="99FF33"/>
                  </a:gs>
                  <a:gs pos="50000">
                    <a:srgbClr val="FFFF66"/>
                  </a:gs>
                  <a:gs pos="100000">
                    <a:srgbClr val="EBF680">
                      <a:lumMod val="20000"/>
                      <a:lumOff val="80000"/>
                    </a:srgbClr>
                  </a:gs>
                </a:gsLst>
                <a:lin ang="1800000" scaled="0"/>
                <a:tileRect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Lbls>
            <c:dLbl>
              <c:idx val="0"/>
              <c:delete val="1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3"/>
              <c:delete val="1"/>
            </c:dLbl>
            <c:dLbl>
              <c:idx val="4"/>
              <c:delete val="1"/>
            </c:dLbl>
            <c:dLbl>
              <c:idx val="5"/>
              <c:delete val="1"/>
            </c:dLbl>
            <c:dLbl>
              <c:idx val="6"/>
              <c:delete val="1"/>
            </c:dLbl>
            <c:showVal val="1"/>
            <c:showLeaderLines val="1"/>
          </c:dLbls>
          <c:cat>
            <c:strRef>
              <c:f>Лист1!$A$2:$A$15</c:f>
              <c:strCache>
                <c:ptCount val="14"/>
                <c:pt idx="0">
                  <c:v>Развитие экономики 0,01 %</c:v>
                </c:pt>
                <c:pt idx="1">
                  <c:v>Молодёжь 0,1 %</c:v>
                </c:pt>
                <c:pt idx="2">
                  <c:v>Создание условий безопасной жизни населения 0,7 %</c:v>
                </c:pt>
                <c:pt idx="3">
                  <c:v>Управление имуществом 0,7 %</c:v>
                </c:pt>
                <c:pt idx="4">
                  <c:v>Развитие градостроительства, строительства и архитектуры 3,1 %</c:v>
                </c:pt>
                <c:pt idx="5">
                  <c:v>Открытость и эффективность работы администрации 1 %</c:v>
                </c:pt>
                <c:pt idx="6">
                  <c:v>Развитие физической культуры и спорта 1,1 %</c:v>
                </c:pt>
                <c:pt idx="7">
                  <c:v>Развитие транспортной системы и охрана окружающей среды 13,3 %</c:v>
                </c:pt>
                <c:pt idx="8">
                  <c:v>Культура 2,8 %</c:v>
                </c:pt>
                <c:pt idx="9">
                  <c:v>Управление финансами 2,4%</c:v>
                </c:pt>
                <c:pt idx="10">
                  <c:v>Формирование современной городской среды 9,4 %</c:v>
                </c:pt>
                <c:pt idx="11">
                  <c:v>Развитие жилищно-коммунального хозяйства 6,2 %</c:v>
                </c:pt>
                <c:pt idx="12">
                  <c:v>Социальная поддержка населения 25,7%</c:v>
                </c:pt>
                <c:pt idx="13">
                  <c:v>Развитие образования 33,6 ,%</c:v>
                </c:pt>
              </c:strCache>
            </c:strRef>
          </c:cat>
          <c:val>
            <c:numRef>
              <c:f>Лист1!$B$2:$B$15</c:f>
              <c:numCache>
                <c:formatCode>0.0%</c:formatCode>
                <c:ptCount val="14"/>
                <c:pt idx="0" formatCode="0.00%">
                  <c:v>1.0000000000000067E-4</c:v>
                </c:pt>
                <c:pt idx="1">
                  <c:v>1.0000000000000041E-3</c:v>
                </c:pt>
                <c:pt idx="2">
                  <c:v>7.0000000000000114E-3</c:v>
                </c:pt>
                <c:pt idx="3">
                  <c:v>7.0000000000000114E-3</c:v>
                </c:pt>
                <c:pt idx="4">
                  <c:v>3.1000000000000052E-2</c:v>
                </c:pt>
                <c:pt idx="5">
                  <c:v>1.0000000000000005E-2</c:v>
                </c:pt>
                <c:pt idx="6">
                  <c:v>1.0999999999999998E-2</c:v>
                </c:pt>
                <c:pt idx="7">
                  <c:v>0.13300000000000001</c:v>
                </c:pt>
                <c:pt idx="8">
                  <c:v>2.8000000000000001E-2</c:v>
                </c:pt>
                <c:pt idx="9">
                  <c:v>2.4E-2</c:v>
                </c:pt>
                <c:pt idx="10">
                  <c:v>9.4000000000000028E-2</c:v>
                </c:pt>
                <c:pt idx="11">
                  <c:v>6.2000000000000034E-2</c:v>
                </c:pt>
                <c:pt idx="12">
                  <c:v>0.25700000000000001</c:v>
                </c:pt>
                <c:pt idx="13">
                  <c:v>0.33600000000000191</c:v>
                </c:pt>
              </c:numCache>
            </c:numRef>
          </c:val>
        </c:ser>
        <c:firstSliceAng val="0"/>
        <c:holeSize val="30"/>
      </c:doughnutChart>
      <c:spPr>
        <a:scene3d>
          <a:camera prst="orthographicFront"/>
          <a:lightRig rig="threePt" dir="t"/>
        </a:scene3d>
        <a:sp3d>
          <a:bevelT w="6350"/>
        </a:sp3d>
      </c:spPr>
    </c:plotArea>
    <c:legend>
      <c:legendPos val="r"/>
      <c:legendEntry>
        <c:idx val="0"/>
        <c:txPr>
          <a:bodyPr/>
          <a:lstStyle/>
          <a:p>
            <a:pPr>
              <a:defRPr sz="1300" b="1" baseline="0">
                <a:solidFill>
                  <a:schemeClr val="tx2">
                    <a:lumMod val="50000"/>
                  </a:schemeClr>
                </a:solidFill>
              </a:defRPr>
            </a:pPr>
            <a:endParaRPr lang="ru-RU"/>
          </a:p>
        </c:txPr>
      </c:legendEntry>
      <c:layout>
        <c:manualLayout>
          <c:xMode val="edge"/>
          <c:yMode val="edge"/>
          <c:x val="0.56276416777519067"/>
          <c:y val="0"/>
          <c:w val="0.42870266903352433"/>
          <c:h val="0.99891355674384319"/>
        </c:manualLayout>
      </c:layout>
      <c:spPr>
        <a:gradFill>
          <a:gsLst>
            <a:gs pos="0">
              <a:prstClr val="white"/>
            </a:gs>
            <a:gs pos="50000">
              <a:srgbClr val="6AB0AA">
                <a:lumMod val="60000"/>
                <a:lumOff val="40000"/>
              </a:srgbClr>
            </a:gs>
            <a:gs pos="100000">
              <a:schemeClr val="accent6">
                <a:lumMod val="75000"/>
              </a:schemeClr>
            </a:gs>
          </a:gsLst>
          <a:lin ang="600000" scaled="0"/>
        </a:gradFill>
      </c:spPr>
      <c:txPr>
        <a:bodyPr/>
        <a:lstStyle/>
        <a:p>
          <a:pPr>
            <a:defRPr sz="1300" b="1" baseline="0"/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style val="32"/>
  <c:chart>
    <c:autoTitleDeleted val="1"/>
    <c:view3D>
      <c:perspective val="30"/>
    </c:view3D>
    <c:plotArea>
      <c:layout>
        <c:manualLayout>
          <c:layoutTarget val="inner"/>
          <c:xMode val="edge"/>
          <c:yMode val="edge"/>
          <c:x val="8.4725123364098598E-2"/>
          <c:y val="0"/>
          <c:w val="0.88143795830838312"/>
          <c:h val="0.93419802273131869"/>
        </c:manualLayout>
      </c:layout>
      <c:area3DChart>
        <c:grouping val="standard"/>
        <c:ser>
          <c:idx val="0"/>
          <c:order val="0"/>
          <c:tx>
            <c:strRef>
              <c:f>Лист1!$B$1</c:f>
              <c:strCache>
                <c:ptCount val="1"/>
                <c:pt idx="0">
                  <c:v>Расходы краевого бюджета</c:v>
                </c:pt>
              </c:strCache>
            </c:strRef>
          </c:tx>
          <c:spPr>
            <a:gradFill flip="none" rotWithShape="1">
              <a:gsLst>
                <a:gs pos="0">
                  <a:srgbClr val="009999">
                    <a:shade val="30000"/>
                    <a:satMod val="115000"/>
                  </a:srgbClr>
                </a:gs>
                <a:gs pos="50000">
                  <a:srgbClr val="009999">
                    <a:shade val="67500"/>
                    <a:satMod val="115000"/>
                  </a:srgbClr>
                </a:gs>
                <a:gs pos="100000">
                  <a:srgbClr val="009999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scene3d>
              <a:camera prst="orthographicFront"/>
              <a:lightRig rig="contrasting" dir="t"/>
            </a:scene3d>
            <a:sp3d prstMaterial="flat">
              <a:bevelT w="203200" h="203200"/>
            </a:sp3d>
          </c:spPr>
          <c:dLbls>
            <c:dLbl>
              <c:idx val="0"/>
              <c:layout>
                <c:manualLayout>
                  <c:x val="2.4627337426754064E-3"/>
                  <c:y val="-0.18431991977059101"/>
                </c:manualLayout>
              </c:layout>
              <c:showVal val="1"/>
            </c:dLbl>
            <c:dLbl>
              <c:idx val="1"/>
              <c:layout>
                <c:manualLayout>
                  <c:x val="2.7777509839289451E-3"/>
                  <c:y val="-0.12803184979582696"/>
                </c:manualLayout>
              </c:layout>
              <c:showVal val="1"/>
            </c:dLbl>
            <c:dLbl>
              <c:idx val="2"/>
              <c:layout>
                <c:manualLayout>
                  <c:x val="-1.3888754919644741E-3"/>
                  <c:y val="-8.6995266624805501E-2"/>
                </c:manualLayout>
              </c:layout>
              <c:showVal val="1"/>
            </c:dLbl>
            <c:dLbl>
              <c:idx val="3"/>
              <c:layout>
                <c:manualLayout>
                  <c:x val="3.6415193194498392E-3"/>
                  <c:y val="-7.8704361024344804E-2"/>
                </c:manualLayout>
              </c:layout>
              <c:showVal val="1"/>
            </c:dLbl>
            <c:dLbl>
              <c:idx val="4"/>
              <c:layout>
                <c:manualLayout>
                  <c:x val="7.5872337792599117E-4"/>
                  <c:y val="-7.0364961825039596E-2"/>
                </c:manualLayout>
              </c:layout>
              <c:showVal val="1"/>
            </c:dLbl>
            <c:txPr>
              <a:bodyPr/>
              <a:lstStyle/>
              <a:p>
                <a:pPr>
                  <a:defRPr sz="2000" b="1"/>
                </a:pPr>
                <a:endParaRPr lang="ru-RU"/>
              </a:p>
            </c:txPr>
            <c:showVal val="1"/>
          </c:dLbls>
          <c:cat>
            <c:strRef>
              <c:f>Лист1!$A$2:$A$6</c:f>
              <c:strCache>
                <c:ptCount val="5"/>
                <c:pt idx="0">
                  <c:v>на 01.01.2020 г.</c:v>
                </c:pt>
                <c:pt idx="1">
                  <c:v>на 01.01.2021 г.</c:v>
                </c:pt>
                <c:pt idx="2">
                  <c:v>на 01.01.2022 г.</c:v>
                </c:pt>
                <c:pt idx="3">
                  <c:v>на 01.01.2023 г.</c:v>
                </c:pt>
                <c:pt idx="4">
                  <c:v>на 01.01.2024 г.</c:v>
                </c:pt>
              </c:strCache>
            </c:strRef>
          </c:cat>
          <c:val>
            <c:numRef>
              <c:f>Лист1!$B$2:$B$6</c:f>
              <c:numCache>
                <c:formatCode>#,##0.0</c:formatCode>
                <c:ptCount val="5"/>
                <c:pt idx="0">
                  <c:v>8.3000000000000007</c:v>
                </c:pt>
                <c:pt idx="1">
                  <c:v>0</c:v>
                </c:pt>
                <c:pt idx="2">
                  <c:v>12.1</c:v>
                </c:pt>
                <c:pt idx="3">
                  <c:v>12.1</c:v>
                </c:pt>
                <c:pt idx="4">
                  <c:v>0</c:v>
                </c:pt>
              </c:numCache>
            </c:numRef>
          </c:val>
        </c:ser>
        <c:axId val="166025856"/>
        <c:axId val="166044032"/>
        <c:axId val="124217984"/>
      </c:area3DChart>
      <c:catAx>
        <c:axId val="166025856"/>
        <c:scaling>
          <c:orientation val="minMax"/>
        </c:scaling>
        <c:axPos val="b"/>
        <c:tickLblPos val="nextTo"/>
        <c:txPr>
          <a:bodyPr/>
          <a:lstStyle/>
          <a:p>
            <a:pPr>
              <a:defRPr sz="1600" b="1"/>
            </a:pPr>
            <a:endParaRPr lang="ru-RU"/>
          </a:p>
        </c:txPr>
        <c:crossAx val="166044032"/>
        <c:crosses val="autoZero"/>
        <c:auto val="1"/>
        <c:lblAlgn val="ctr"/>
        <c:lblOffset val="100"/>
      </c:catAx>
      <c:valAx>
        <c:axId val="166044032"/>
        <c:scaling>
          <c:orientation val="minMax"/>
        </c:scaling>
        <c:delete val="1"/>
        <c:axPos val="l"/>
        <c:majorGridlines/>
        <c:numFmt formatCode="#,##0.0" sourceLinked="1"/>
        <c:tickLblPos val="none"/>
        <c:crossAx val="166025856"/>
        <c:crosses val="autoZero"/>
        <c:crossBetween val="midCat"/>
      </c:valAx>
      <c:serAx>
        <c:axId val="124217984"/>
        <c:scaling>
          <c:orientation val="minMax"/>
        </c:scaling>
        <c:delete val="1"/>
        <c:axPos val="b"/>
        <c:tickLblPos val="none"/>
        <c:crossAx val="166044032"/>
        <c:crosses val="autoZero"/>
      </c:serAx>
    </c:plotArea>
    <c:plotVisOnly val="1"/>
    <c:dispBlanksAs val="zero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otX val="30"/>
      <c:rAngAx val="1"/>
    </c:view3D>
    <c:plotArea>
      <c:layout>
        <c:manualLayout>
          <c:layoutTarget val="inner"/>
          <c:xMode val="edge"/>
          <c:yMode val="edge"/>
          <c:x val="0"/>
          <c:y val="1.6596209300372349E-2"/>
          <c:w val="0.97210269028871465"/>
          <c:h val="0.70901160086165549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всего доходов</c:v>
                </c:pt>
              </c:strCache>
            </c:strRef>
          </c:tx>
          <c:spPr>
            <a:solidFill>
              <a:srgbClr val="CCFF33"/>
            </a:solidFill>
          </c:spPr>
          <c:dLbls>
            <c:dLbl>
              <c:idx val="0"/>
              <c:layout>
                <c:manualLayout>
                  <c:x val="2.2325226873526212E-3"/>
                  <c:y val="-2.0450007514438456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807,9</a:t>
                    </a:r>
                    <a:endParaRPr lang="en-US" dirty="0"/>
                  </a:p>
                </c:rich>
              </c:tx>
              <c:showVal val="1"/>
            </c:dLbl>
            <c:dLbl>
              <c:idx val="1"/>
              <c:layout>
                <c:manualLayout>
                  <c:x val="1.2278874780439345E-2"/>
                  <c:y val="-2.2722230571598286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956,9</a:t>
                    </a:r>
                    <a:endParaRPr lang="en-US" dirty="0"/>
                  </a:p>
                </c:rich>
              </c:tx>
              <c:showVal val="1"/>
            </c:dLbl>
            <c:dLbl>
              <c:idx val="2"/>
              <c:layout>
                <c:manualLayout>
                  <c:x val="1.0473291533002818E-2"/>
                  <c:y val="-2.5775516550734252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2067,6</a:t>
                    </a:r>
                    <a:endParaRPr lang="en-US" dirty="0"/>
                  </a:p>
                </c:rich>
              </c:tx>
              <c:showVal val="1"/>
            </c:dLbl>
            <c:dLbl>
              <c:idx val="3"/>
              <c:layout>
                <c:manualLayout>
                  <c:x val="5.5813067183817129E-3"/>
                  <c:y val="-2.7266676685918052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871,2</a:t>
                    </a:r>
                    <a:endParaRPr lang="en-US" dirty="0"/>
                  </a:p>
                </c:rich>
              </c:tx>
              <c:showVal val="1"/>
            </c:dLbl>
            <c:showVal val="1"/>
          </c:dLbls>
          <c:cat>
            <c:strRef>
              <c:f>Лист1!$A$2:$A$5</c:f>
              <c:strCache>
                <c:ptCount val="4"/>
                <c:pt idx="0">
                  <c:v>2021 год</c:v>
                </c:pt>
                <c:pt idx="1">
                  <c:v>2022 год</c:v>
                </c:pt>
                <c:pt idx="2">
                  <c:v>2023 год</c:v>
                </c:pt>
                <c:pt idx="3">
                  <c:v>2024 год</c:v>
                </c:pt>
              </c:strCache>
            </c:strRef>
          </c:cat>
          <c:val>
            <c:numRef>
              <c:f>Лист1!$B$2:$B$5</c:f>
              <c:numCache>
                <c:formatCode>0.0</c:formatCode>
                <c:ptCount val="4"/>
                <c:pt idx="0">
                  <c:v>1807.9</c:v>
                </c:pt>
                <c:pt idx="1">
                  <c:v>1956.9</c:v>
                </c:pt>
                <c:pt idx="2">
                  <c:v>2067.6</c:v>
                </c:pt>
                <c:pt idx="3">
                  <c:v>1871.3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безвозмездные поступления</c:v>
                </c:pt>
              </c:strCache>
            </c:strRef>
          </c:tx>
          <c:spPr>
            <a:solidFill>
              <a:srgbClr val="9933FF"/>
            </a:solidFill>
            <a:ln>
              <a:solidFill>
                <a:srgbClr val="FF33CC"/>
              </a:solidFill>
            </a:ln>
          </c:spPr>
          <c:dLbls>
            <c:dLbl>
              <c:idx val="0"/>
              <c:layout>
                <c:manualLayout>
                  <c:x val="2.9845679012345812E-2"/>
                  <c:y val="-2.7266698093149001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331,2</a:t>
                    </a:r>
                    <a:endParaRPr lang="en-US" dirty="0"/>
                  </a:p>
                </c:rich>
              </c:tx>
              <c:showVal val="1"/>
            </c:dLbl>
            <c:dLbl>
              <c:idx val="1"/>
              <c:layout>
                <c:manualLayout>
                  <c:x val="2.8302469135802168E-2"/>
                  <c:y val="-2.9929562811222436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566,2</a:t>
                    </a:r>
                    <a:endParaRPr lang="en-US" dirty="0"/>
                  </a:p>
                </c:rich>
              </c:tx>
              <c:showVal val="1"/>
            </c:dLbl>
            <c:dLbl>
              <c:idx val="2"/>
              <c:layout>
                <c:manualLayout>
                  <c:x val="2.8564814814814814E-2"/>
                  <c:y val="-2.4864312505344245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677,2</a:t>
                    </a:r>
                    <a:endParaRPr lang="en-US" dirty="0"/>
                  </a:p>
                </c:rich>
              </c:tx>
              <c:showVal val="1"/>
            </c:dLbl>
            <c:dLbl>
              <c:idx val="3"/>
              <c:layout>
                <c:manualLayout>
                  <c:x val="4.5277777777777757E-2"/>
                  <c:y val="-4.4083397207784814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470,9</a:t>
                    </a:r>
                    <a:endParaRPr lang="en-US" dirty="0"/>
                  </a:p>
                </c:rich>
              </c:tx>
              <c:showVal val="1"/>
            </c:dLbl>
            <c:showVal val="1"/>
          </c:dLbls>
          <c:cat>
            <c:strRef>
              <c:f>Лист1!$A$2:$A$5</c:f>
              <c:strCache>
                <c:ptCount val="4"/>
                <c:pt idx="0">
                  <c:v>2021 год</c:v>
                </c:pt>
                <c:pt idx="1">
                  <c:v>2022 год</c:v>
                </c:pt>
                <c:pt idx="2">
                  <c:v>2023 год</c:v>
                </c:pt>
                <c:pt idx="3">
                  <c:v>2024 год</c:v>
                </c:pt>
              </c:strCache>
            </c:strRef>
          </c:cat>
          <c:val>
            <c:numRef>
              <c:f>Лист1!$C$2:$C$5</c:f>
              <c:numCache>
                <c:formatCode>0.0</c:formatCode>
                <c:ptCount val="4"/>
                <c:pt idx="0">
                  <c:v>1331.2</c:v>
                </c:pt>
                <c:pt idx="1">
                  <c:v>1566.2</c:v>
                </c:pt>
                <c:pt idx="2">
                  <c:v>1677.2</c:v>
                </c:pt>
                <c:pt idx="3">
                  <c:v>1471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налоговые и неналоговые доходы</c:v>
                </c:pt>
              </c:strCache>
            </c:strRef>
          </c:tx>
          <c:spPr>
            <a:solidFill>
              <a:srgbClr val="33CCFF"/>
            </a:solidFill>
          </c:spPr>
          <c:dLbls>
            <c:dLbl>
              <c:idx val="0"/>
              <c:layout>
                <c:manualLayout>
                  <c:x val="2.1013414989792981E-2"/>
                  <c:y val="-4.1290576670906465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476,7</a:t>
                    </a:r>
                    <a:endParaRPr lang="en-US" dirty="0"/>
                  </a:p>
                </c:rich>
              </c:tx>
              <c:showVal val="1"/>
            </c:dLbl>
            <c:dLbl>
              <c:idx val="1"/>
              <c:layout>
                <c:manualLayout>
                  <c:x val="2.3837367551278722E-2"/>
                  <c:y val="-3.4083419907491141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390,7</a:t>
                    </a:r>
                    <a:endParaRPr lang="en-US" dirty="0"/>
                  </a:p>
                </c:rich>
              </c:tx>
              <c:showVal val="1"/>
            </c:dLbl>
            <c:dLbl>
              <c:idx val="2"/>
              <c:layout>
                <c:manualLayout>
                  <c:x val="3.3786089238845143E-2"/>
                  <c:y val="-3.4083419907491141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390,4</a:t>
                    </a:r>
                    <a:endParaRPr lang="en-US" dirty="0"/>
                  </a:p>
                </c:rich>
              </c:tx>
              <c:showVal val="1"/>
            </c:dLbl>
            <c:dLbl>
              <c:idx val="3"/>
              <c:layout>
                <c:manualLayout>
                  <c:x val="3.8677943034898542E-2"/>
                  <c:y val="-3.0059518630027402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400,3</a:t>
                    </a:r>
                    <a:endParaRPr lang="en-US" dirty="0"/>
                  </a:p>
                </c:rich>
              </c:tx>
              <c:showVal val="1"/>
            </c:dLbl>
            <c:showVal val="1"/>
          </c:dLbls>
          <c:cat>
            <c:strRef>
              <c:f>Лист1!$A$2:$A$5</c:f>
              <c:strCache>
                <c:ptCount val="4"/>
                <c:pt idx="0">
                  <c:v>2021 год</c:v>
                </c:pt>
                <c:pt idx="1">
                  <c:v>2022 год</c:v>
                </c:pt>
                <c:pt idx="2">
                  <c:v>2023 год</c:v>
                </c:pt>
                <c:pt idx="3">
                  <c:v>2024 год</c:v>
                </c:pt>
              </c:strCache>
            </c:strRef>
          </c:cat>
          <c:val>
            <c:numRef>
              <c:f>Лист1!$D$2:$D$5</c:f>
              <c:numCache>
                <c:formatCode>0.0</c:formatCode>
                <c:ptCount val="4"/>
                <c:pt idx="0">
                  <c:v>476.7</c:v>
                </c:pt>
                <c:pt idx="1">
                  <c:v>390.7</c:v>
                </c:pt>
                <c:pt idx="2">
                  <c:v>390.4</c:v>
                </c:pt>
                <c:pt idx="3">
                  <c:v>400.3</c:v>
                </c:pt>
              </c:numCache>
            </c:numRef>
          </c:val>
        </c:ser>
        <c:shape val="cylinder"/>
        <c:axId val="115924352"/>
        <c:axId val="115942528"/>
        <c:axId val="0"/>
      </c:bar3DChart>
      <c:catAx>
        <c:axId val="115924352"/>
        <c:scaling>
          <c:orientation val="minMax"/>
        </c:scaling>
        <c:axPos val="b"/>
        <c:tickLblPos val="nextTo"/>
        <c:crossAx val="115942528"/>
        <c:crosses val="autoZero"/>
        <c:auto val="1"/>
        <c:lblAlgn val="ctr"/>
        <c:lblOffset val="100"/>
      </c:catAx>
      <c:valAx>
        <c:axId val="115942528"/>
        <c:scaling>
          <c:orientation val="minMax"/>
        </c:scaling>
        <c:delete val="1"/>
        <c:axPos val="l"/>
        <c:numFmt formatCode="0.0" sourceLinked="1"/>
        <c:tickLblPos val="none"/>
        <c:crossAx val="115924352"/>
        <c:crosses val="autoZero"/>
        <c:crossBetween val="between"/>
      </c:valAx>
    </c:plotArea>
    <c:legend>
      <c:legendPos val="r"/>
      <c:legendEntry>
        <c:idx val="1"/>
        <c:txPr>
          <a:bodyPr/>
          <a:lstStyle/>
          <a:p>
            <a:pPr>
              <a:defRPr sz="1100" b="1"/>
            </a:pPr>
            <a:endParaRPr lang="ru-RU"/>
          </a:p>
        </c:txPr>
      </c:legendEntry>
      <c:legendEntry>
        <c:idx val="0"/>
        <c:txPr>
          <a:bodyPr/>
          <a:lstStyle/>
          <a:p>
            <a:pPr>
              <a:defRPr sz="1100" b="1"/>
            </a:pPr>
            <a:endParaRPr lang="ru-RU"/>
          </a:p>
        </c:txPr>
      </c:legendEntry>
      <c:legendEntry>
        <c:idx val="2"/>
        <c:txPr>
          <a:bodyPr/>
          <a:lstStyle/>
          <a:p>
            <a:pPr>
              <a:defRPr sz="1100" b="1"/>
            </a:pPr>
            <a:endParaRPr lang="ru-RU"/>
          </a:p>
        </c:txPr>
      </c:legendEntry>
      <c:layout>
        <c:manualLayout>
          <c:xMode val="edge"/>
          <c:yMode val="edge"/>
          <c:x val="6.8602133638267837E-2"/>
          <c:y val="0.79795888031559559"/>
          <c:w val="0.77846996666312884"/>
          <c:h val="0.20204106461701421"/>
        </c:manualLayout>
      </c:layout>
      <c:txPr>
        <a:bodyPr/>
        <a:lstStyle/>
        <a:p>
          <a:pPr>
            <a:defRPr sz="1400" b="1"/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29"/>
  <c:chart>
    <c:title>
      <c:tx>
        <c:rich>
          <a:bodyPr/>
          <a:lstStyle/>
          <a:p>
            <a:pPr>
              <a:defRPr/>
            </a:pPr>
            <a:r>
              <a:rPr lang="en-US" dirty="0" smtClean="0">
                <a:latin typeface="Times New Roman" pitchFamily="18" charset="0"/>
                <a:cs typeface="Times New Roman" pitchFamily="18" charset="0"/>
              </a:rPr>
              <a:t>20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22 год</a:t>
            </a:r>
          </a:p>
        </c:rich>
      </c:tx>
      <c:layout/>
    </c:title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18</c:v>
                </c:pt>
              </c:strCache>
            </c:strRef>
          </c:tx>
          <c:dPt>
            <c:idx val="1"/>
            <c:spPr>
              <a:gradFill rotWithShape="1">
                <a:gsLst>
                  <a:gs pos="0">
                    <a:schemeClr val="accent2">
                      <a:tint val="48000"/>
                      <a:satMod val="138000"/>
                    </a:schemeClr>
                  </a:gs>
                  <a:gs pos="25000">
                    <a:schemeClr val="accent2">
                      <a:tint val="85000"/>
                    </a:schemeClr>
                  </a:gs>
                  <a:gs pos="40000">
                    <a:schemeClr val="accent2">
                      <a:tint val="92000"/>
                    </a:schemeClr>
                  </a:gs>
                  <a:gs pos="50000">
                    <a:schemeClr val="accent2">
                      <a:tint val="93000"/>
                    </a:schemeClr>
                  </a:gs>
                  <a:gs pos="60000">
                    <a:schemeClr val="accent2">
                      <a:tint val="92000"/>
                    </a:schemeClr>
                  </a:gs>
                  <a:gs pos="75000">
                    <a:schemeClr val="accent2">
                      <a:tint val="83000"/>
                      <a:satMod val="108000"/>
                    </a:schemeClr>
                  </a:gs>
                  <a:gs pos="100000">
                    <a:schemeClr val="accent2">
                      <a:tint val="48000"/>
                      <a:satMod val="150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glow rad="101500">
                  <a:schemeClr val="accent2">
                    <a:alpha val="42000"/>
                    <a:satMod val="120000"/>
                  </a:schemeClr>
                </a:glow>
              </a:effectLst>
              <a:scene3d>
                <a:camera prst="orthographicFront" fov="0">
                  <a:rot lat="0" lon="0" rev="0"/>
                </a:camera>
                <a:lightRig rig="glow" dir="t">
                  <a:rot lat="0" lon="0" rev="4800000"/>
                </a:lightRig>
              </a:scene3d>
              <a:sp3d prstMaterial="powder">
                <a:bevelT w="50800" h="50800"/>
                <a:contourClr>
                  <a:schemeClr val="accent2"/>
                </a:contourClr>
              </a:sp3d>
            </c:spPr>
          </c:dPt>
          <c:cat>
            <c:strRef>
              <c:f>Лист1!$A$2:$A$5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52.9</c:v>
                </c:pt>
                <c:pt idx="1">
                  <c:v>47.1</c:v>
                </c:pt>
              </c:numCache>
            </c:numRef>
          </c:val>
        </c:ser>
        <c:firstSliceAng val="0"/>
        <c:holeSize val="50"/>
      </c:doughnutChart>
    </c:plotArea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29"/>
  <c:chart>
    <c:title>
      <c:tx>
        <c:rich>
          <a:bodyPr/>
          <a:lstStyle/>
          <a:p>
            <a:pPr>
              <a:defRPr/>
            </a:pPr>
            <a:r>
              <a:rPr lang="en-US" dirty="0" smtClean="0">
                <a:latin typeface="Times New Roman" pitchFamily="18" charset="0"/>
                <a:cs typeface="Times New Roman" pitchFamily="18" charset="0"/>
              </a:rPr>
              <a:t>20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23</a:t>
            </a:r>
            <a:r>
              <a:rPr lang="ru-RU" baseline="0" dirty="0" smtClean="0">
                <a:latin typeface="Times New Roman" pitchFamily="18" charset="0"/>
                <a:cs typeface="Times New Roman" pitchFamily="18" charset="0"/>
              </a:rPr>
              <a:t> год</a:t>
            </a:r>
            <a:endParaRPr lang="en-US" dirty="0">
              <a:latin typeface="Times New Roman" pitchFamily="18" charset="0"/>
              <a:cs typeface="Times New Roman" pitchFamily="18" charset="0"/>
            </a:endParaRPr>
          </a:p>
        </c:rich>
      </c:tx>
      <c:layout>
        <c:manualLayout>
          <c:xMode val="edge"/>
          <c:yMode val="edge"/>
          <c:x val="0.66016663998117864"/>
          <c:y val="2.5184221589421851E-2"/>
        </c:manualLayout>
      </c:layout>
    </c:title>
    <c:plotArea>
      <c:layout>
        <c:manualLayout>
          <c:layoutTarget val="inner"/>
          <c:xMode val="edge"/>
          <c:yMode val="edge"/>
          <c:x val="0.59726840057112451"/>
          <c:y val="0.20744682391579491"/>
          <c:w val="0.38145916738991459"/>
          <c:h val="0.65768821963778001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18</c:v>
                </c:pt>
              </c:strCache>
            </c:strRef>
          </c:tx>
          <c:dPt>
            <c:idx val="1"/>
            <c:spPr>
              <a:gradFill rotWithShape="1">
                <a:gsLst>
                  <a:gs pos="0">
                    <a:schemeClr val="accent2">
                      <a:tint val="48000"/>
                      <a:satMod val="138000"/>
                    </a:schemeClr>
                  </a:gs>
                  <a:gs pos="25000">
                    <a:schemeClr val="accent2">
                      <a:tint val="85000"/>
                    </a:schemeClr>
                  </a:gs>
                  <a:gs pos="40000">
                    <a:schemeClr val="accent2">
                      <a:tint val="92000"/>
                    </a:schemeClr>
                  </a:gs>
                  <a:gs pos="50000">
                    <a:schemeClr val="accent2">
                      <a:tint val="93000"/>
                    </a:schemeClr>
                  </a:gs>
                  <a:gs pos="60000">
                    <a:schemeClr val="accent2">
                      <a:tint val="92000"/>
                    </a:schemeClr>
                  </a:gs>
                  <a:gs pos="75000">
                    <a:schemeClr val="accent2">
                      <a:tint val="83000"/>
                      <a:satMod val="108000"/>
                    </a:schemeClr>
                  </a:gs>
                  <a:gs pos="100000">
                    <a:schemeClr val="accent2">
                      <a:tint val="48000"/>
                      <a:satMod val="150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glow rad="101500">
                  <a:schemeClr val="accent2">
                    <a:alpha val="42000"/>
                    <a:satMod val="120000"/>
                  </a:schemeClr>
                </a:glow>
              </a:effectLst>
              <a:scene3d>
                <a:camera prst="orthographicFront" fov="0">
                  <a:rot lat="0" lon="0" rev="0"/>
                </a:camera>
                <a:lightRig rig="glow" dir="t">
                  <a:rot lat="0" lon="0" rev="4800000"/>
                </a:lightRig>
              </a:scene3d>
              <a:sp3d prstMaterial="powder">
                <a:bevelT w="50800" h="50800"/>
                <a:contourClr>
                  <a:schemeClr val="accent2"/>
                </a:contourClr>
              </a:sp3d>
            </c:spPr>
          </c:dPt>
          <c:cat>
            <c:strRef>
              <c:f>Лист1!$A$2:$A$5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51.4</c:v>
                </c:pt>
                <c:pt idx="1">
                  <c:v>48.6</c:v>
                </c:pt>
              </c:numCache>
            </c:numRef>
          </c:val>
        </c:ser>
        <c:firstSliceAng val="0"/>
        <c:holeSize val="50"/>
      </c:doughnutChart>
    </c:plotArea>
    <c:plotVisOnly val="1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29"/>
  <c:chart>
    <c:autoTitleDeleted val="1"/>
    <c:plotArea>
      <c:layout/>
      <c:doughnutChart>
        <c:varyColors val="1"/>
        <c:firstSliceAng val="0"/>
        <c:holeSize val="50"/>
      </c:doughnutChart>
      <c:spPr>
        <a:noFill/>
        <a:ln w="25400">
          <a:noFill/>
        </a:ln>
      </c:spPr>
    </c:plotArea>
    <c:plotVisOnly val="1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29"/>
  <c:chart>
    <c:title>
      <c:tx>
        <c:rich>
          <a:bodyPr/>
          <a:lstStyle/>
          <a:p>
            <a:pPr>
              <a:defRPr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2024 год</a:t>
            </a:r>
            <a:endParaRPr lang="en-US" dirty="0">
              <a:latin typeface="Times New Roman" pitchFamily="18" charset="0"/>
              <a:cs typeface="Times New Roman" pitchFamily="18" charset="0"/>
            </a:endParaRPr>
          </a:p>
        </c:rich>
      </c:tx>
      <c:layout>
        <c:manualLayout>
          <c:xMode val="edge"/>
          <c:yMode val="edge"/>
          <c:x val="0.53000666678899311"/>
          <c:y val="0.11086069801768057"/>
        </c:manualLayout>
      </c:layout>
    </c:title>
    <c:plotArea>
      <c:layout>
        <c:manualLayout>
          <c:layoutTarget val="inner"/>
          <c:xMode val="edge"/>
          <c:yMode val="edge"/>
          <c:x val="0.49771354181248484"/>
          <c:y val="0.34231178036223897"/>
          <c:w val="0.38145916738991459"/>
          <c:h val="0.65768821963778001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18</c:v>
                </c:pt>
              </c:strCache>
            </c:strRef>
          </c:tx>
          <c:dPt>
            <c:idx val="1"/>
            <c:spPr>
              <a:gradFill rotWithShape="1">
                <a:gsLst>
                  <a:gs pos="0">
                    <a:schemeClr val="accent2">
                      <a:tint val="48000"/>
                      <a:satMod val="138000"/>
                    </a:schemeClr>
                  </a:gs>
                  <a:gs pos="25000">
                    <a:schemeClr val="accent2">
                      <a:tint val="85000"/>
                    </a:schemeClr>
                  </a:gs>
                  <a:gs pos="40000">
                    <a:schemeClr val="accent2">
                      <a:tint val="92000"/>
                    </a:schemeClr>
                  </a:gs>
                  <a:gs pos="50000">
                    <a:schemeClr val="accent2">
                      <a:tint val="93000"/>
                    </a:schemeClr>
                  </a:gs>
                  <a:gs pos="60000">
                    <a:schemeClr val="accent2">
                      <a:tint val="92000"/>
                    </a:schemeClr>
                  </a:gs>
                  <a:gs pos="75000">
                    <a:schemeClr val="accent2">
                      <a:tint val="83000"/>
                      <a:satMod val="108000"/>
                    </a:schemeClr>
                  </a:gs>
                  <a:gs pos="100000">
                    <a:schemeClr val="accent2">
                      <a:tint val="48000"/>
                      <a:satMod val="150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glow rad="101500">
                  <a:schemeClr val="accent2">
                    <a:alpha val="42000"/>
                    <a:satMod val="120000"/>
                  </a:schemeClr>
                </a:glow>
              </a:effectLst>
              <a:scene3d>
                <a:camera prst="orthographicFront" fov="0">
                  <a:rot lat="0" lon="0" rev="0"/>
                </a:camera>
                <a:lightRig rig="glow" dir="t">
                  <a:rot lat="0" lon="0" rev="4800000"/>
                </a:lightRig>
              </a:scene3d>
              <a:sp3d prstMaterial="powder">
                <a:bevelT w="50800" h="50800"/>
                <a:contourClr>
                  <a:schemeClr val="accent2"/>
                </a:contourClr>
              </a:sp3d>
            </c:spPr>
          </c:dPt>
          <c:cat>
            <c:strRef>
              <c:f>Лист1!$A$2:$A$5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49.2</c:v>
                </c:pt>
                <c:pt idx="1">
                  <c:v>50.8</c:v>
                </c:pt>
              </c:numCache>
            </c:numRef>
          </c:val>
        </c:ser>
        <c:firstSliceAng val="0"/>
        <c:holeSize val="50"/>
      </c:doughnutChart>
    </c:plotArea>
    <c:plotVisOnly val="1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style val="10"/>
  <c:chart>
    <c:autoTitleDeleted val="1"/>
    <c:plotArea>
      <c:layout>
        <c:manualLayout>
          <c:layoutTarget val="inner"/>
          <c:xMode val="edge"/>
          <c:yMode val="edge"/>
          <c:x val="3.0832246975082491E-2"/>
          <c:y val="1.9959032074432863E-3"/>
          <c:w val="0.96740763552544395"/>
          <c:h val="0.62694177701880605"/>
        </c:manualLayout>
      </c:layout>
      <c:lineChart>
        <c:grouping val="standard"/>
        <c:ser>
          <c:idx val="0"/>
          <c:order val="0"/>
          <c:tx>
            <c:strRef>
              <c:f>Лист1!$B$1</c:f>
              <c:strCache>
                <c:ptCount val="1"/>
                <c:pt idx="0">
                  <c:v>Земельный налог</c:v>
                </c:pt>
              </c:strCache>
            </c:strRef>
          </c:tx>
          <c:spPr>
            <a:ln>
              <a:solidFill>
                <a:srgbClr val="9BBB59"/>
              </a:solidFill>
            </a:ln>
          </c:spPr>
          <c:marker>
            <c:spPr>
              <a:solidFill>
                <a:srgbClr val="92D050"/>
              </a:solidFill>
            </c:spPr>
          </c:marker>
          <c:dLbls>
            <c:dLbl>
              <c:idx val="0"/>
              <c:layout>
                <c:manualLayout>
                  <c:x val="0"/>
                  <c:y val="6.3209434132472292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40,0</a:t>
                    </a:r>
                    <a:endParaRPr lang="en-US" dirty="0"/>
                  </a:p>
                </c:rich>
              </c:tx>
              <c:showVal val="1"/>
            </c:dLbl>
            <c:dLbl>
              <c:idx val="1"/>
              <c:layout>
                <c:manualLayout>
                  <c:x val="0"/>
                  <c:y val="5.5308254865914022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21,0</a:t>
                    </a:r>
                    <a:endParaRPr lang="en-US" dirty="0"/>
                  </a:p>
                </c:rich>
              </c:tx>
              <c:showVal val="1"/>
            </c:dLbl>
            <c:dLbl>
              <c:idx val="2"/>
              <c:layout>
                <c:manualLayout>
                  <c:x val="0"/>
                  <c:y val="7.90117926655904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21,0</a:t>
                    </a:r>
                    <a:endParaRPr lang="en-US" dirty="0"/>
                  </a:p>
                </c:rich>
              </c:tx>
              <c:showVal val="1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ru-RU" dirty="0" smtClean="0"/>
                      <a:t>21,0</a:t>
                    </a:r>
                  </a:p>
                  <a:p>
                    <a:endParaRPr lang="en-US" dirty="0"/>
                  </a:p>
                </c:rich>
              </c:tx>
              <c:showVal val="1"/>
            </c:dLbl>
            <c:showVal val="1"/>
          </c:dLbls>
          <c:cat>
            <c:numRef>
              <c:f>Лист1!$A$2:$A$5</c:f>
              <c:numCache>
                <c:formatCode>General</c:formatCode>
                <c:ptCount val="4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</c:numCache>
            </c:num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40</c:v>
                </c:pt>
                <c:pt idx="1">
                  <c:v>21</c:v>
                </c:pt>
                <c:pt idx="2">
                  <c:v>21</c:v>
                </c:pt>
                <c:pt idx="3">
                  <c:v>21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Налог на имущество физических лиц</c:v>
                </c:pt>
              </c:strCache>
            </c:strRef>
          </c:tx>
          <c:dLbls>
            <c:dLbl>
              <c:idx val="0"/>
              <c:layout>
                <c:manualLayout>
                  <c:x val="-7.4073555623990969E-3"/>
                  <c:y val="3.9505896332795179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6,0</a:t>
                    </a:r>
                    <a:endParaRPr lang="en-US" dirty="0"/>
                  </a:p>
                </c:rich>
              </c:tx>
              <c:showVal val="1"/>
            </c:dLbl>
            <c:dLbl>
              <c:idx val="1"/>
              <c:layout>
                <c:manualLayout>
                  <c:x val="-7.4073555623990969E-3"/>
                  <c:y val="8.6912971932149322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3,0</a:t>
                    </a:r>
                    <a:endParaRPr lang="en-US" dirty="0"/>
                  </a:p>
                </c:rich>
              </c:tx>
              <c:showVal val="1"/>
            </c:dLbl>
            <c:dLbl>
              <c:idx val="2"/>
              <c:layout>
                <c:manualLayout>
                  <c:x val="-7.4073555623990969E-3"/>
                  <c:y val="7.90117926655904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3,0</a:t>
                    </a:r>
                    <a:endParaRPr lang="en-US" dirty="0"/>
                  </a:p>
                </c:rich>
              </c:tx>
              <c:showVal val="1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ru-RU" dirty="0" smtClean="0"/>
                      <a:t>21,0</a:t>
                    </a:r>
                    <a:endParaRPr lang="en-US" dirty="0"/>
                  </a:p>
                </c:rich>
              </c:tx>
              <c:showVal val="1"/>
            </c:dLbl>
            <c:showVal val="1"/>
          </c:dLbls>
          <c:cat>
            <c:numRef>
              <c:f>Лист1!$A$2:$A$5</c:f>
              <c:numCache>
                <c:formatCode>General</c:formatCode>
                <c:ptCount val="4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</c:numCache>
            </c:numRef>
          </c:cat>
          <c:val>
            <c:numRef>
              <c:f>Лист1!$C$2:$C$5</c:f>
              <c:numCache>
                <c:formatCode>General</c:formatCode>
                <c:ptCount val="4"/>
                <c:pt idx="0">
                  <c:v>6</c:v>
                </c:pt>
                <c:pt idx="1">
                  <c:v>13</c:v>
                </c:pt>
                <c:pt idx="2">
                  <c:v>13</c:v>
                </c:pt>
                <c:pt idx="3">
                  <c:v>12</c:v>
                </c:pt>
              </c:numCache>
            </c:numRef>
          </c:val>
        </c:ser>
        <c:dLbls>
          <c:showVal val="1"/>
        </c:dLbls>
        <c:marker val="1"/>
        <c:axId val="133698304"/>
        <c:axId val="133699840"/>
      </c:lineChart>
      <c:catAx>
        <c:axId val="133698304"/>
        <c:scaling>
          <c:orientation val="minMax"/>
        </c:scaling>
        <c:axPos val="b"/>
        <c:numFmt formatCode="General" sourceLinked="1"/>
        <c:majorTickMark val="none"/>
        <c:tickLblPos val="nextTo"/>
        <c:crossAx val="133699840"/>
        <c:crosses val="autoZero"/>
        <c:auto val="1"/>
        <c:lblAlgn val="ctr"/>
        <c:lblOffset val="100"/>
      </c:catAx>
      <c:valAx>
        <c:axId val="133699840"/>
        <c:scaling>
          <c:orientation val="minMax"/>
        </c:scaling>
        <c:delete val="1"/>
        <c:axPos val="l"/>
        <c:numFmt formatCode="General" sourceLinked="1"/>
        <c:majorTickMark val="none"/>
        <c:tickLblPos val="none"/>
        <c:crossAx val="133698304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6.7934782608695704E-2"/>
          <c:y val="0.88888266748789169"/>
          <c:w val="0.84042678033164298"/>
          <c:h val="8.6565310221156266E-2"/>
        </c:manualLayout>
      </c:layout>
      <c:spPr>
        <a:gradFill rotWithShape="1">
          <a:gsLst>
            <a:gs pos="0">
              <a:schemeClr val="accent1">
                <a:tint val="48000"/>
                <a:satMod val="138000"/>
              </a:schemeClr>
            </a:gs>
            <a:gs pos="25000">
              <a:schemeClr val="accent1">
                <a:tint val="85000"/>
              </a:schemeClr>
            </a:gs>
            <a:gs pos="40000">
              <a:schemeClr val="accent1">
                <a:tint val="92000"/>
              </a:schemeClr>
            </a:gs>
            <a:gs pos="50000">
              <a:schemeClr val="accent1">
                <a:tint val="93000"/>
              </a:schemeClr>
            </a:gs>
            <a:gs pos="60000">
              <a:schemeClr val="accent1">
                <a:tint val="92000"/>
              </a:schemeClr>
            </a:gs>
            <a:gs pos="75000">
              <a:schemeClr val="accent1">
                <a:tint val="83000"/>
                <a:satMod val="108000"/>
              </a:schemeClr>
            </a:gs>
            <a:gs pos="100000">
              <a:schemeClr val="accent1">
                <a:tint val="48000"/>
                <a:satMod val="150000"/>
              </a:schemeClr>
            </a:gs>
          </a:gsLst>
          <a:lin ang="5400000" scaled="0"/>
        </a:gradFill>
        <a:ln w="12000" cap="flat" cmpd="sng" algn="ctr">
          <a:solidFill>
            <a:schemeClr val="accent1"/>
          </a:solidFill>
          <a:prstDash val="solid"/>
        </a:ln>
        <a:effectLst>
          <a:glow rad="63500">
            <a:schemeClr val="accent1">
              <a:alpha val="45000"/>
              <a:satMod val="120000"/>
            </a:schemeClr>
          </a:glow>
        </a:effectLst>
        <a:scene3d>
          <a:camera prst="orthographicFront" fov="0">
            <a:rot lat="0" lon="0" rev="0"/>
          </a:camera>
          <a:lightRig rig="brightRoom" dir="tl">
            <a:rot lat="0" lon="0" rev="8700000"/>
          </a:lightRig>
        </a:scene3d>
        <a:sp3d>
          <a:bevelT w="0" h="0"/>
          <a:contourClr>
            <a:schemeClr val="accent1">
              <a:tint val="70000"/>
            </a:schemeClr>
          </a:contourClr>
        </a:sp3d>
      </c:spPr>
      <c:txPr>
        <a:bodyPr/>
        <a:lstStyle/>
        <a:p>
          <a:pPr>
            <a:defRPr>
              <a:solidFill>
                <a:schemeClr val="lt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5.4728674540682712E-2"/>
          <c:y val="2.5914268661589242E-2"/>
          <c:w val="0.94527132545931769"/>
          <c:h val="0.65884416240289034"/>
        </c:manualLayout>
      </c:layout>
      <c:bar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субвенции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dLbls>
            <c:showVal val="1"/>
          </c:dLbls>
          <c:cat>
            <c:strRef>
              <c:f>Лист1!$A$2:$A$7</c:f>
              <c:strCache>
                <c:ptCount val="5"/>
                <c:pt idx="0">
                  <c:v>2020 год (отчет)</c:v>
                </c:pt>
                <c:pt idx="1">
                  <c:v>2021 год (оценка)</c:v>
                </c:pt>
                <c:pt idx="2">
                  <c:v>2022 год</c:v>
                </c:pt>
                <c:pt idx="3">
                  <c:v>2023 год</c:v>
                </c:pt>
                <c:pt idx="4">
                  <c:v>2024 год</c:v>
                </c:pt>
              </c:strCache>
            </c:str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687.3</c:v>
                </c:pt>
                <c:pt idx="1">
                  <c:v>733.7</c:v>
                </c:pt>
                <c:pt idx="2">
                  <c:v>787</c:v>
                </c:pt>
                <c:pt idx="3">
                  <c:v>805.5</c:v>
                </c:pt>
                <c:pt idx="4">
                  <c:v>824.1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дотации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dLbls>
            <c:showVal val="1"/>
          </c:dLbls>
          <c:cat>
            <c:strRef>
              <c:f>Лист1!$A$2:$A$7</c:f>
              <c:strCache>
                <c:ptCount val="5"/>
                <c:pt idx="0">
                  <c:v>2020 год (отчет)</c:v>
                </c:pt>
                <c:pt idx="1">
                  <c:v>2021 год (оценка)</c:v>
                </c:pt>
                <c:pt idx="2">
                  <c:v>2022 год</c:v>
                </c:pt>
                <c:pt idx="3">
                  <c:v>2023 год</c:v>
                </c:pt>
                <c:pt idx="4">
                  <c:v>2024 год</c:v>
                </c:pt>
              </c:strCache>
            </c:strRef>
          </c:cat>
          <c:val>
            <c:numRef>
              <c:f>Лист1!$C$2:$C$7</c:f>
              <c:numCache>
                <c:formatCode>General</c:formatCode>
                <c:ptCount val="6"/>
                <c:pt idx="0">
                  <c:v>409.6</c:v>
                </c:pt>
                <c:pt idx="1">
                  <c:v>327.5</c:v>
                </c:pt>
                <c:pt idx="2">
                  <c:v>307.2</c:v>
                </c:pt>
                <c:pt idx="3">
                  <c:v>248</c:v>
                </c:pt>
                <c:pt idx="4">
                  <c:v>224.2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иные межбюджетные транферты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satMod val="103000"/>
                    <a:lumMod val="102000"/>
                    <a:tint val="94000"/>
                  </a:schemeClr>
                </a:gs>
                <a:gs pos="50000">
                  <a:schemeClr val="accent3">
                    <a:satMod val="110000"/>
                    <a:lumMod val="100000"/>
                    <a:shade val="100000"/>
                  </a:schemeClr>
                </a:gs>
                <a:gs pos="100000">
                  <a:schemeClr val="accent3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dLbls>
            <c:showVal val="1"/>
          </c:dLbls>
          <c:cat>
            <c:strRef>
              <c:f>Лист1!$A$2:$A$7</c:f>
              <c:strCache>
                <c:ptCount val="5"/>
                <c:pt idx="0">
                  <c:v>2020 год (отчет)</c:v>
                </c:pt>
                <c:pt idx="1">
                  <c:v>2021 год (оценка)</c:v>
                </c:pt>
                <c:pt idx="2">
                  <c:v>2022 год</c:v>
                </c:pt>
                <c:pt idx="3">
                  <c:v>2023 год</c:v>
                </c:pt>
                <c:pt idx="4">
                  <c:v>2024 год</c:v>
                </c:pt>
              </c:strCache>
            </c:strRef>
          </c:cat>
          <c:val>
            <c:numRef>
              <c:f>Лист1!$D$2:$D$7</c:f>
              <c:numCache>
                <c:formatCode>General</c:formatCode>
                <c:ptCount val="6"/>
                <c:pt idx="0">
                  <c:v>60.6</c:v>
                </c:pt>
                <c:pt idx="1">
                  <c:v>62.8</c:v>
                </c:pt>
                <c:pt idx="2">
                  <c:v>47.3</c:v>
                </c:pt>
                <c:pt idx="3">
                  <c:v>1.2</c:v>
                </c:pt>
                <c:pt idx="4">
                  <c:v>1.2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субсидии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dLbls>
            <c:showVal val="1"/>
          </c:dLbls>
          <c:cat>
            <c:strRef>
              <c:f>Лист1!$A$2:$A$7</c:f>
              <c:strCache>
                <c:ptCount val="5"/>
                <c:pt idx="0">
                  <c:v>2020 год (отчет)</c:v>
                </c:pt>
                <c:pt idx="1">
                  <c:v>2021 год (оценка)</c:v>
                </c:pt>
                <c:pt idx="2">
                  <c:v>2022 год</c:v>
                </c:pt>
                <c:pt idx="3">
                  <c:v>2023 год</c:v>
                </c:pt>
                <c:pt idx="4">
                  <c:v>2024 год</c:v>
                </c:pt>
              </c:strCache>
            </c:strRef>
          </c:cat>
          <c:val>
            <c:numRef>
              <c:f>Лист1!$E$2:$E$7</c:f>
              <c:numCache>
                <c:formatCode>General</c:formatCode>
                <c:ptCount val="6"/>
                <c:pt idx="0">
                  <c:v>366.8</c:v>
                </c:pt>
                <c:pt idx="1">
                  <c:v>210.6</c:v>
                </c:pt>
                <c:pt idx="2">
                  <c:v>424.7</c:v>
                </c:pt>
                <c:pt idx="3">
                  <c:v>622.5</c:v>
                </c:pt>
                <c:pt idx="4">
                  <c:v>421.4</c:v>
                </c:pt>
              </c:numCache>
            </c:numRef>
          </c:val>
        </c:ser>
        <c:dLbls>
          <c:showVal val="1"/>
        </c:dLbls>
        <c:axId val="133795840"/>
        <c:axId val="133797376"/>
      </c:barChart>
      <c:catAx>
        <c:axId val="133795840"/>
        <c:scaling>
          <c:orientation val="minMax"/>
        </c:scaling>
        <c:axPos val="b"/>
        <c:majorTickMark val="none"/>
        <c:tickLblPos val="nextTo"/>
        <c:crossAx val="133797376"/>
        <c:crosses val="autoZero"/>
        <c:auto val="1"/>
        <c:lblAlgn val="ctr"/>
        <c:lblOffset val="100"/>
      </c:catAx>
      <c:valAx>
        <c:axId val="133797376"/>
        <c:scaling>
          <c:orientation val="minMax"/>
        </c:scaling>
        <c:delete val="1"/>
        <c:axPos val="l"/>
        <c:numFmt formatCode="General" sourceLinked="1"/>
        <c:majorTickMark val="none"/>
        <c:tickLblPos val="none"/>
        <c:crossAx val="13379584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12628872631591817"/>
          <c:y val="0.81394755426589982"/>
          <c:w val="0.78306855244990103"/>
          <c:h val="0.18605244573410581"/>
        </c:manualLayout>
      </c:layout>
      <c:txPr>
        <a:bodyPr/>
        <a:lstStyle/>
        <a:p>
          <a:pPr>
            <a:defRPr sz="1100">
              <a:latin typeface="Arial Black" pitchFamily="34" charset="0"/>
            </a:defRPr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4"/>
  <c:chart>
    <c:autoTitleDeleted val="1"/>
    <c:view3D>
      <c:rotX val="10"/>
      <c:hPercent val="77"/>
      <c:depthPercent val="100"/>
      <c:rAngAx val="1"/>
    </c:view3D>
    <c:plotArea>
      <c:layout/>
      <c:bar3DChart>
        <c:barDir val="col"/>
        <c:grouping val="clustered"/>
        <c:ser>
          <c:idx val="0"/>
          <c:order val="0"/>
          <c:tx>
            <c:strRef>
              <c:f>Sheet1!$A$3</c:f>
              <c:strCache>
                <c:ptCount val="1"/>
                <c:pt idx="0">
                  <c:v>Расходы</c:v>
                </c:pt>
              </c:strCache>
            </c:strRef>
          </c:tx>
          <c:dPt>
            <c:idx val="0"/>
            <c:spPr>
              <a:solidFill>
                <a:schemeClr val="accent5">
                  <a:lumMod val="40000"/>
                  <a:lumOff val="60000"/>
                </a:schemeClr>
              </a:solidFill>
            </c:spPr>
          </c:dPt>
          <c:dPt>
            <c:idx val="1"/>
            <c:spPr>
              <a:solidFill>
                <a:schemeClr val="accent3">
                  <a:lumMod val="40000"/>
                  <a:lumOff val="60000"/>
                </a:schemeClr>
              </a:solidFill>
            </c:spPr>
          </c:dPt>
          <c:dPt>
            <c:idx val="2"/>
            <c:spPr>
              <a:solidFill>
                <a:schemeClr val="tx2">
                  <a:lumMod val="40000"/>
                  <a:lumOff val="60000"/>
                </a:schemeClr>
              </a:solidFill>
            </c:spPr>
          </c:dPt>
          <c:dPt>
            <c:idx val="3"/>
            <c:spPr>
              <a:solidFill>
                <a:srgbClr val="FFCCCC"/>
              </a:solidFill>
            </c:spPr>
          </c:dPt>
          <c:dPt>
            <c:idx val="4"/>
            <c:spPr>
              <a:solidFill>
                <a:schemeClr val="accent6">
                  <a:lumMod val="60000"/>
                  <a:lumOff val="40000"/>
                </a:schemeClr>
              </a:solidFill>
            </c:spPr>
          </c:dPt>
          <c:dLbls>
            <c:dLbl>
              <c:idx val="0"/>
              <c:layout>
                <c:manualLayout>
                  <c:x val="1.8550664799103243E-2"/>
                  <c:y val="0.2065384679409864"/>
                </c:manualLayout>
              </c:layout>
              <c:showVal val="1"/>
            </c:dLbl>
            <c:dLbl>
              <c:idx val="1"/>
              <c:layout>
                <c:manualLayout>
                  <c:x val="2.0096553532361828E-2"/>
                  <c:y val="0.21032518307438094"/>
                </c:manualLayout>
              </c:layout>
              <c:showVal val="1"/>
            </c:dLbl>
            <c:dLbl>
              <c:idx val="2"/>
              <c:layout>
                <c:manualLayout>
                  <c:x val="1.5458887332586121E-2"/>
                  <c:y val="0.23308387447279574"/>
                </c:manualLayout>
              </c:layout>
              <c:showVal val="1"/>
            </c:dLbl>
            <c:dLbl>
              <c:idx val="3"/>
              <c:layout>
                <c:manualLayout>
                  <c:x val="1.8550664799103243E-2"/>
                  <c:y val="0.23956336060847741"/>
                </c:manualLayout>
              </c:layout>
              <c:showVal val="1"/>
            </c:dLbl>
            <c:dLbl>
              <c:idx val="4"/>
              <c:layout>
                <c:manualLayout>
                  <c:x val="2.3188330998879049E-2"/>
                  <c:y val="0.21246010499442847"/>
                </c:manualLayout>
              </c:layout>
              <c:showVal val="1"/>
            </c:dLbl>
            <c:txPr>
              <a:bodyPr/>
              <a:lstStyle/>
              <a:p>
                <a:pPr>
                  <a:defRPr sz="140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Sheet1!$B$1:$F$1</c:f>
              <c:strCache>
                <c:ptCount val="5"/>
                <c:pt idx="0">
                  <c:v>2020 год</c:v>
                </c:pt>
                <c:pt idx="1">
                  <c:v>2021 год</c:v>
                </c:pt>
                <c:pt idx="2">
                  <c:v>2022 год</c:v>
                </c:pt>
                <c:pt idx="3">
                  <c:v>2023 год</c:v>
                </c:pt>
                <c:pt idx="4">
                  <c:v>2024 год</c:v>
                </c:pt>
              </c:strCache>
            </c:strRef>
          </c:cat>
          <c:val>
            <c:numRef>
              <c:f>Sheet1!$B$3:$F$3</c:f>
              <c:numCache>
                <c:formatCode>General</c:formatCode>
                <c:ptCount val="5"/>
                <c:pt idx="0">
                  <c:v>1842.3</c:v>
                </c:pt>
                <c:pt idx="1">
                  <c:v>1866.2</c:v>
                </c:pt>
                <c:pt idx="2">
                  <c:v>1956.9</c:v>
                </c:pt>
                <c:pt idx="3">
                  <c:v>2055.5</c:v>
                </c:pt>
                <c:pt idx="4">
                  <c:v>1871.3</c:v>
                </c:pt>
              </c:numCache>
            </c:numRef>
          </c:val>
        </c:ser>
        <c:dLbls>
          <c:showVal val="1"/>
        </c:dLbls>
        <c:gapWidth val="0"/>
        <c:gapDepth val="0"/>
        <c:shape val="cylinder"/>
        <c:axId val="133856640"/>
        <c:axId val="133858432"/>
        <c:axId val="0"/>
      </c:bar3DChart>
      <c:catAx>
        <c:axId val="133856640"/>
        <c:scaling>
          <c:orientation val="minMax"/>
        </c:scaling>
        <c:axPos val="b"/>
        <c:numFmt formatCode="General" sourceLinked="1"/>
        <c:majorTickMark val="none"/>
        <c:tickLblPos val="low"/>
        <c:txPr>
          <a:bodyPr rot="0" vert="horz"/>
          <a:lstStyle/>
          <a:p>
            <a:pPr>
              <a:defRPr sz="180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33858432"/>
        <c:crosses val="autoZero"/>
        <c:auto val="1"/>
        <c:lblAlgn val="ctr"/>
        <c:lblOffset val="100"/>
        <c:tickLblSkip val="1"/>
        <c:tickMarkSkip val="1"/>
      </c:catAx>
      <c:valAx>
        <c:axId val="133858432"/>
        <c:scaling>
          <c:orientation val="minMax"/>
          <c:min val="1500"/>
        </c:scaling>
        <c:delete val="1"/>
        <c:axPos val="l"/>
        <c:numFmt formatCode="General" sourceLinked="1"/>
        <c:tickLblPos val="none"/>
        <c:crossAx val="133856640"/>
        <c:crosses val="autoZero"/>
        <c:crossBetween val="between"/>
      </c:valAx>
      <c:spPr>
        <a:effectLst>
          <a:outerShdw blurRad="50800" dist="749300" dir="5400000" algn="ctr" rotWithShape="0">
            <a:srgbClr val="4F81BD">
              <a:lumMod val="75000"/>
            </a:srgbClr>
          </a:outerShdw>
        </a:effectLst>
      </c:spPr>
    </c:plotArea>
    <c:plotVisOnly val="1"/>
    <c:dispBlanksAs val="gap"/>
  </c:chart>
  <c:txPr>
    <a:bodyPr/>
    <a:lstStyle/>
    <a:p>
      <a:pPr>
        <a:defRPr sz="1800" b="1"/>
      </a:pPr>
      <a:endParaRPr lang="ru-RU"/>
    </a:p>
  </c:txPr>
  <c:externalData r:id="rId1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4.v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image" Target="../media/image2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6154</cdr:x>
      <cdr:y>0.49305</cdr:y>
    </cdr:from>
    <cdr:to>
      <cdr:x>0.80769</cdr:x>
      <cdr:y>0.69884</cdr:y>
    </cdr:to>
    <cdr:sp macro="" textlink="">
      <cdr:nvSpPr>
        <cdr:cNvPr id="2" name="TextBox 9"/>
        <cdr:cNvSpPr txBox="1"/>
      </cdr:nvSpPr>
      <cdr:spPr>
        <a:xfrm xmlns:a="http://schemas.openxmlformats.org/drawingml/2006/main">
          <a:off x="1714512" y="1143008"/>
          <a:ext cx="1285884" cy="47705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fr-FR"/>
          </a:defPPr>
          <a:lvl1pPr algn="l" rtl="0" eaLnBrk="0" fontAlgn="base" hangingPunct="0">
            <a:spcBef>
              <a:spcPct val="0"/>
            </a:spcBef>
            <a:spcAft>
              <a:spcPct val="0"/>
            </a:spcAft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1pPr>
          <a:lvl2pPr marL="457200" algn="l" rtl="0" eaLnBrk="0" fontAlgn="base" hangingPunct="0">
            <a:spcBef>
              <a:spcPct val="0"/>
            </a:spcBef>
            <a:spcAft>
              <a:spcPct val="0"/>
            </a:spcAft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2pPr>
          <a:lvl3pPr marL="914400" algn="l" rtl="0" eaLnBrk="0" fontAlgn="base" hangingPunct="0">
            <a:spcBef>
              <a:spcPct val="0"/>
            </a:spcBef>
            <a:spcAft>
              <a:spcPct val="0"/>
            </a:spcAft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3pPr>
          <a:lvl4pPr marL="1371600" algn="l" rtl="0" eaLnBrk="0" fontAlgn="base" hangingPunct="0">
            <a:spcBef>
              <a:spcPct val="0"/>
            </a:spcBef>
            <a:spcAft>
              <a:spcPct val="0"/>
            </a:spcAft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4pPr>
          <a:lvl5pPr marL="1828800" algn="l" rtl="0" eaLnBrk="0" fontAlgn="base" hangingPunct="0">
            <a:spcBef>
              <a:spcPct val="0"/>
            </a:spcBef>
            <a:spcAft>
              <a:spcPct val="0"/>
            </a:spcAft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5pPr>
          <a:lvl6pPr marL="2286000" algn="l" defTabSz="914400" rtl="0" eaLnBrk="1" latinLnBrk="0" hangingPunct="1"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6pPr>
          <a:lvl7pPr marL="2743200" algn="l" defTabSz="914400" rtl="0" eaLnBrk="1" latinLnBrk="0" hangingPunct="1"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7pPr>
          <a:lvl8pPr marL="3200400" algn="l" defTabSz="914400" rtl="0" eaLnBrk="1" latinLnBrk="0" hangingPunct="1"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8pPr>
          <a:lvl9pPr marL="3657600" algn="l" defTabSz="914400" rtl="0" eaLnBrk="1" latinLnBrk="0" hangingPunct="1"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9pPr>
        </a:lstStyle>
        <a:p xmlns:a="http://schemas.openxmlformats.org/drawingml/2006/main">
          <a:r>
            <a:rPr lang="ru-RU" sz="2500" dirty="0" smtClean="0"/>
            <a:t>50,0 %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</cdr:x>
      <cdr:y>0.48276</cdr:y>
    </cdr:from>
    <cdr:to>
      <cdr:x>0.44</cdr:x>
      <cdr:y>0.71303</cdr:y>
    </cdr:to>
    <cdr:sp macro="" textlink="">
      <cdr:nvSpPr>
        <cdr:cNvPr id="2" name="TextBox 9"/>
        <cdr:cNvSpPr txBox="1"/>
      </cdr:nvSpPr>
      <cdr:spPr>
        <a:xfrm xmlns:a="http://schemas.openxmlformats.org/drawingml/2006/main">
          <a:off x="357190" y="1000135"/>
          <a:ext cx="1214446" cy="47705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endParaRPr lang="ru-RU" sz="2500" dirty="0" smtClean="0"/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32</cdr:x>
      <cdr:y>0.44828</cdr:y>
    </cdr:from>
    <cdr:to>
      <cdr:x>0.71451</cdr:x>
      <cdr:y>0.66069</cdr:y>
    </cdr:to>
    <cdr:sp macro="" textlink="">
      <cdr:nvSpPr>
        <cdr:cNvPr id="2" name="TextBox 9"/>
        <cdr:cNvSpPr txBox="1"/>
      </cdr:nvSpPr>
      <cdr:spPr>
        <a:xfrm xmlns:a="http://schemas.openxmlformats.org/drawingml/2006/main">
          <a:off x="1143008" y="1006804"/>
          <a:ext cx="1409128" cy="47705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ru-RU" sz="2500" dirty="0" smtClean="0">
              <a:latin typeface="Times New Roman" pitchFamily="18" charset="0"/>
              <a:cs typeface="Times New Roman" pitchFamily="18" charset="0"/>
            </a:rPr>
            <a:t>50,0</a:t>
          </a:r>
          <a:r>
            <a:rPr lang="ru-RU" sz="2000" dirty="0" smtClean="0"/>
            <a:t> %</a:t>
          </a: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25588</cdr:x>
      <cdr:y>0.41751</cdr:y>
    </cdr:from>
    <cdr:to>
      <cdr:x>0.4211</cdr:x>
      <cdr:y>0.62579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339752" y="2664296"/>
          <a:ext cx="1510772" cy="132910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B3B07DF-2472-481D-B079-56DD1661F17A}" type="datetimeFigureOut">
              <a:rPr lang="ru-RU" smtClean="0"/>
              <a:pPr/>
              <a:t>15.12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B848C8-F97B-4B74-8C19-F96604D662EB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fr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7384965F-707A-4519-B564-3D3F1EFB0C57}" type="datetimeFigureOut">
              <a:rPr lang="fr-FR"/>
              <a:pPr>
                <a:defRPr/>
              </a:pPr>
              <a:t>15/12/2021</a:t>
            </a:fld>
            <a:endParaRPr lang="fr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2241550" y="685800"/>
            <a:ext cx="23749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fr-CA" noProof="0" smtClean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fr-CA" noProof="0" smtClean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fr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0BD269F5-E4B4-4C4B-B252-CC965B7930F2}" type="slidenum">
              <a:rPr lang="fr-CA"/>
              <a:pPr>
                <a:defRPr/>
              </a:pPr>
              <a:t>‹#›</a:t>
            </a:fld>
            <a:endParaRPr lang="fr-CA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/>
          <p:cNvSpPr>
            <a:spLocks noGrp="1"/>
          </p:cNvSpPr>
          <p:nvPr>
            <p:ph type="ctrTitle"/>
          </p:nvPr>
        </p:nvSpPr>
        <p:spPr>
          <a:xfrm>
            <a:off x="400050" y="1981200"/>
            <a:ext cx="5888736" cy="2641600"/>
          </a:xfrm>
          <a:ln>
            <a:noFill/>
          </a:ln>
        </p:spPr>
        <p:txBody>
          <a:bodyPr vert="horz" tIns="0" rIns="18288" bIns="0" anchor="b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  <a:contourClr>
                <a:schemeClr val="tx2"/>
              </a:contourClr>
            </a:sp3d>
          </a:bodyPr>
          <a:lstStyle>
            <a:lvl1pPr algn="r" rtl="0">
              <a:spcBef>
                <a:spcPct val="0"/>
              </a:spcBef>
              <a:buNone/>
              <a:defRPr sz="5600" b="1">
                <a:ln>
                  <a:noFill/>
                </a:ln>
                <a:solidFill>
                  <a:schemeClr val="accent3">
                    <a:tint val="90000"/>
                    <a:satMod val="120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17" name="Подзаголовок 16"/>
          <p:cNvSpPr>
            <a:spLocks noGrp="1"/>
          </p:cNvSpPr>
          <p:nvPr>
            <p:ph type="subTitle" idx="1"/>
          </p:nvPr>
        </p:nvSpPr>
        <p:spPr>
          <a:xfrm>
            <a:off x="400050" y="4663441"/>
            <a:ext cx="5891022" cy="2531533"/>
          </a:xfrm>
        </p:spPr>
        <p:txBody>
          <a:bodyPr lIns="0" rIns="18288"/>
          <a:lstStyle>
            <a:lvl1pPr marL="0" marR="45720" indent="0" algn="r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sp>
        <p:nvSpPr>
          <p:cNvPr id="30" name="Дата 2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D519AA6-96EE-4D0E-9159-7E58DADB6FCE}" type="datetime1">
              <a:rPr lang="fr-FR" smtClean="0"/>
              <a:pPr>
                <a:defRPr/>
              </a:pPr>
              <a:t>15/12/2021</a:t>
            </a:fld>
            <a:endParaRPr lang="fr-CA"/>
          </a:p>
        </p:txBody>
      </p:sp>
      <p:sp>
        <p:nvSpPr>
          <p:cNvPr id="19" name="Нижний колонтитул 1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27" name="Номер слайда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7E0445-00CE-420A-B900-FBA46E6ABAD0}" type="datetime1">
              <a:rPr lang="fr-FR" smtClean="0"/>
              <a:pPr>
                <a:defRPr/>
              </a:pPr>
              <a:t>15/12/2021</a:t>
            </a:fld>
            <a:endParaRPr lang="fr-C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4972050" y="1320803"/>
            <a:ext cx="1543050" cy="7528102"/>
          </a:xfrm>
        </p:spPr>
        <p:txBody>
          <a:bodyPr vert="eaVert"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42900" y="1320803"/>
            <a:ext cx="4514850" cy="7528102"/>
          </a:xfrm>
        </p:spPr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58585B4-2388-41C9-9195-62B0BBE9CFC9}" type="datetime1">
              <a:rPr lang="fr-FR" smtClean="0"/>
              <a:pPr>
                <a:defRPr/>
              </a:pPr>
              <a:t>15/12/2021</a:t>
            </a:fld>
            <a:endParaRPr lang="fr-C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Скругленный прямоугольник 24"/>
          <p:cNvSpPr/>
          <p:nvPr userDrawn="1"/>
        </p:nvSpPr>
        <p:spPr>
          <a:xfrm>
            <a:off x="154268" y="281530"/>
            <a:ext cx="6549464" cy="9342945"/>
          </a:xfrm>
          <a:prstGeom prst="roundRect">
            <a:avLst>
              <a:gd name="adj" fmla="val 1377"/>
            </a:avLst>
          </a:prstGeom>
          <a:solidFill>
            <a:schemeClr val="bg1"/>
          </a:solidFill>
          <a:ln w="3175">
            <a:solidFill>
              <a:schemeClr val="accent6">
                <a:lumMod val="75000"/>
                <a:alpha val="39000"/>
              </a:schemeClr>
            </a:solidFill>
          </a:ln>
          <a:effectLst>
            <a:outerShdw blurRad="63500" sx="102000" sy="102000" algn="ctr" rotWithShape="0">
              <a:schemeClr val="accent6">
                <a:lumMod val="40000"/>
                <a:lumOff val="6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" name="Группа 17"/>
          <p:cNvGrpSpPr/>
          <p:nvPr userDrawn="1"/>
        </p:nvGrpSpPr>
        <p:grpSpPr>
          <a:xfrm>
            <a:off x="234410" y="425470"/>
            <a:ext cx="6338861" cy="832095"/>
            <a:chOff x="131572" y="213830"/>
            <a:chExt cx="8451814" cy="843482"/>
          </a:xfrm>
        </p:grpSpPr>
        <p:sp>
          <p:nvSpPr>
            <p:cNvPr id="21" name="Прямоугольник с двумя скругленными соседними углами 20"/>
            <p:cNvSpPr/>
            <p:nvPr/>
          </p:nvSpPr>
          <p:spPr>
            <a:xfrm rot="16200000" flipH="1">
              <a:off x="-121232" y="466636"/>
              <a:ext cx="843479" cy="337872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2" name="Прямоугольник 21"/>
            <p:cNvSpPr/>
            <p:nvPr userDrawn="1"/>
          </p:nvSpPr>
          <p:spPr>
            <a:xfrm>
              <a:off x="498019" y="213830"/>
              <a:ext cx="8085367" cy="843482"/>
            </a:xfrm>
            <a:prstGeom prst="rect">
              <a:avLst/>
            </a:prstGeom>
            <a:gradFill flip="none" rotWithShape="1">
              <a:gsLst>
                <a:gs pos="0">
                  <a:schemeClr val="accent6">
                    <a:lumMod val="75000"/>
                  </a:schemeClr>
                </a:gs>
                <a:gs pos="75000">
                  <a:schemeClr val="accent6">
                    <a:lumMod val="75000"/>
                  </a:schemeClr>
                </a:gs>
                <a:gs pos="100000">
                  <a:schemeClr val="accent3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5" name="Номер слайда 5"/>
          <p:cNvSpPr>
            <a:spLocks noGrp="1"/>
          </p:cNvSpPr>
          <p:nvPr>
            <p:ph type="sldNum" sz="quarter" idx="11"/>
          </p:nvPr>
        </p:nvSpPr>
        <p:spPr>
          <a:xfrm>
            <a:off x="6331945" y="9172222"/>
            <a:ext cx="394779" cy="527402"/>
          </a:xfrm>
        </p:spPr>
        <p:txBody>
          <a:bodyPr/>
          <a:lstStyle>
            <a:lvl1pPr algn="r"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13" name="Заголовок 12"/>
          <p:cNvSpPr>
            <a:spLocks noGrp="1"/>
          </p:cNvSpPr>
          <p:nvPr>
            <p:ph type="title"/>
          </p:nvPr>
        </p:nvSpPr>
        <p:spPr>
          <a:xfrm>
            <a:off x="509245" y="445284"/>
            <a:ext cx="5705818" cy="784766"/>
          </a:xfrm>
        </p:spPr>
        <p:txBody>
          <a:bodyPr/>
          <a:lstStyle>
            <a:lvl1pPr algn="l">
              <a:lnSpc>
                <a:spcPts val="2000"/>
              </a:lnSpc>
              <a:defRPr lang="ru-RU" sz="2000" kern="1200" dirty="0">
                <a:ln w="3175" cmpd="sng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  <a:latin typeface="+mn-lt"/>
                <a:ea typeface="Tahoma" pitchFamily="34" charset="0"/>
                <a:cs typeface="Calibri Light" panose="020F030202020403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="" xmlns:p14="http://schemas.microsoft.com/office/powerpoint/2010/main" val="3311023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="" xmlns:p14="http://schemas.microsoft.com/office/powerpoint/2010/main" val="281742403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342900" y="396700"/>
            <a:ext cx="6172200" cy="845220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457E99-346B-4970-A0C9-D726856D9DE6}" type="datetimeFigureOut">
              <a:rPr lang="fr-FR"/>
              <a:pPr>
                <a:defRPr/>
              </a:pPr>
              <a:t>15/12/2021</a:t>
            </a:fld>
            <a:endParaRPr lang="fr-CA"/>
          </a:p>
        </p:txBody>
      </p:sp>
      <p:sp>
        <p:nvSpPr>
          <p:cNvPr id="4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CA"/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992A85-5947-46F2-98AB-4188733B85EF}" type="slidenum">
              <a:rPr lang="fr-CA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10EC770-60F9-4071-860B-C1BE15C56A92}" type="datetime1">
              <a:rPr lang="fr-FR" smtClean="0"/>
              <a:pPr>
                <a:defRPr/>
              </a:pPr>
              <a:t>15/12/2021</a:t>
            </a:fld>
            <a:endParaRPr lang="fr-C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7764" y="1901952"/>
            <a:ext cx="5829300" cy="1967992"/>
          </a:xfrm>
          <a:ln>
            <a:noFill/>
          </a:ln>
        </p:spPr>
        <p:txBody>
          <a:bodyPr vert="horz" tIns="0" bIns="0" anchor="b">
            <a:no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</a:sp3d>
          </a:bodyPr>
          <a:lstStyle>
            <a:lvl1pPr algn="l" rtl="0">
              <a:spcBef>
                <a:spcPct val="0"/>
              </a:spcBef>
              <a:buNone/>
              <a:defRPr lang="en-US" sz="5600" b="1" cap="none" baseline="0" dirty="0">
                <a:ln w="635">
                  <a:noFill/>
                </a:ln>
                <a:solidFill>
                  <a:schemeClr val="accent4">
                    <a:tint val="90000"/>
                    <a:satMod val="125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97764" y="3906738"/>
            <a:ext cx="5829300" cy="2180695"/>
          </a:xfrm>
        </p:spPr>
        <p:txBody>
          <a:bodyPr lIns="45720" rIns="45720" anchor="t"/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16F7021-FE3D-4F38-BEB0-2748EC1EC33D}" type="datetime1">
              <a:rPr lang="fr-FR" smtClean="0"/>
              <a:pPr>
                <a:defRPr/>
              </a:pPr>
              <a:t>15/12/2021</a:t>
            </a:fld>
            <a:endParaRPr lang="fr-C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2900" y="1017016"/>
            <a:ext cx="6172200" cy="1651000"/>
          </a:xfrm>
        </p:spPr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342900" y="2773456"/>
            <a:ext cx="3028950" cy="6405880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3486150" y="2773456"/>
            <a:ext cx="3028950" cy="6405880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6E4891A-6423-4E56-BBDF-DA9CFAE9B2E0}" type="datetime1">
              <a:rPr lang="fr-FR" smtClean="0"/>
              <a:pPr>
                <a:defRPr/>
              </a:pPr>
              <a:t>15/12/2021</a:t>
            </a:fld>
            <a:endParaRPr lang="fr-CA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2900" y="1017016"/>
            <a:ext cx="6172200" cy="1651000"/>
          </a:xfrm>
        </p:spPr>
        <p:txBody>
          <a:bodyPr tIns="45720" anchor="b"/>
          <a:lstStyle>
            <a:lvl1pPr>
              <a:defRPr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42900" y="2679803"/>
            <a:ext cx="3030141" cy="952397"/>
          </a:xfrm>
        </p:spPr>
        <p:txBody>
          <a:bodyPr lIns="45720" tIns="0" rIns="45720" bIns="0" anchor="ctr">
            <a:noAutofit/>
          </a:bodyPr>
          <a:lstStyle>
            <a:lvl1pPr marL="0" indent="0">
              <a:buNone/>
              <a:defRPr sz="2400" b="1" cap="none" baseline="0">
                <a:solidFill>
                  <a:schemeClr val="tx2"/>
                </a:solidFill>
                <a:effectLst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3483769" y="2686317"/>
            <a:ext cx="3031331" cy="945884"/>
          </a:xfrm>
        </p:spPr>
        <p:txBody>
          <a:bodyPr lIns="45720" tIns="0" rIns="45720" bIns="0" anchor="ctr"/>
          <a:lstStyle>
            <a:lvl1pPr marL="0" indent="0">
              <a:buNone/>
              <a:defRPr sz="2400" b="1" cap="none" baseline="0">
                <a:solidFill>
                  <a:schemeClr val="tx2"/>
                </a:solidFill>
                <a:effectLst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Содержимое 4"/>
          <p:cNvSpPr>
            <a:spLocks noGrp="1"/>
          </p:cNvSpPr>
          <p:nvPr>
            <p:ph sz="quarter" idx="2"/>
          </p:nvPr>
        </p:nvSpPr>
        <p:spPr>
          <a:xfrm>
            <a:off x="342900" y="3632201"/>
            <a:ext cx="3030141" cy="5554929"/>
          </a:xfrm>
        </p:spPr>
        <p:txBody>
          <a:bodyPr tIns="0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3483769" y="3632201"/>
            <a:ext cx="3031331" cy="5554929"/>
          </a:xfrm>
        </p:spPr>
        <p:txBody>
          <a:bodyPr tIns="0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445B58B-4843-4057-909D-2F022CB504BD}" type="datetime1">
              <a:rPr lang="fr-FR" smtClean="0"/>
              <a:pPr>
                <a:defRPr/>
              </a:pPr>
              <a:t>15/12/2021</a:t>
            </a:fld>
            <a:endParaRPr lang="fr-CA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2900" y="1017016"/>
            <a:ext cx="6229350" cy="1651000"/>
          </a:xfrm>
        </p:spPr>
        <p:txBody>
          <a:bodyPr vert="horz" tIns="45720" bIns="0" anchor="b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contourClr>
                <a:schemeClr val="tx2"/>
              </a:contourClr>
            </a:sp3d>
          </a:bodyPr>
          <a:lstStyle>
            <a:lvl1pPr algn="l" rtl="0">
              <a:spcBef>
                <a:spcPct val="0"/>
              </a:spcBef>
              <a:buNone/>
              <a:defRPr sz="5000" b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075D30E-45F3-410F-A06B-9D51EDCAAA18}" type="datetime1">
              <a:rPr lang="fr-FR" smtClean="0"/>
              <a:pPr>
                <a:defRPr/>
              </a:pPr>
              <a:t>15/12/2021</a:t>
            </a:fld>
            <a:endParaRPr lang="fr-CA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2AEDBED-B3A0-4A78-94EF-BB83DBAB978E}" type="datetime1">
              <a:rPr lang="fr-FR" smtClean="0"/>
              <a:pPr>
                <a:defRPr/>
              </a:pPr>
              <a:t>15/12/2021</a:t>
            </a:fld>
            <a:endParaRPr lang="fr-CA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14350" y="742953"/>
            <a:ext cx="2057400" cy="1678517"/>
          </a:xfrm>
        </p:spPr>
        <p:txBody>
          <a:bodyPr lIns="0" anchor="b">
            <a:noAutofit/>
          </a:bodyPr>
          <a:lstStyle>
            <a:lvl1pPr algn="l" rtl="0">
              <a:spcBef>
                <a:spcPct val="0"/>
              </a:spcBef>
              <a:buNone/>
              <a:defRPr sz="2600" b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514350" y="2421467"/>
            <a:ext cx="2057400" cy="6604000"/>
          </a:xfrm>
        </p:spPr>
        <p:txBody>
          <a:bodyPr lIns="18288" rIns="18288"/>
          <a:lstStyle>
            <a:lvl1pPr marL="0" indent="0" algn="l">
              <a:buNone/>
              <a:defRPr sz="1400"/>
            </a:lvl1pPr>
            <a:lvl2pPr indent="0" algn="l">
              <a:buNone/>
              <a:defRPr sz="1200"/>
            </a:lvl2pPr>
            <a:lvl3pPr indent="0" algn="l">
              <a:buNone/>
              <a:defRPr sz="1000"/>
            </a:lvl3pPr>
            <a:lvl4pPr indent="0" algn="l">
              <a:buNone/>
              <a:defRPr sz="900"/>
            </a:lvl4pPr>
            <a:lvl5pPr indent="0" algn="l">
              <a:buNone/>
              <a:defRPr sz="900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1"/>
          </p:nvPr>
        </p:nvSpPr>
        <p:spPr>
          <a:xfrm>
            <a:off x="2681287" y="2421467"/>
            <a:ext cx="3833813" cy="6604000"/>
          </a:xfrm>
        </p:spPr>
        <p:txBody>
          <a:bodyPr tIns="0"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000"/>
            </a:lvl4pPr>
            <a:lvl5pPr>
              <a:defRPr sz="18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43F4FD8-33E4-438B-A889-2E8549C88AD6}" type="datetime1">
              <a:rPr lang="fr-FR" smtClean="0"/>
              <a:pPr>
                <a:defRPr/>
              </a:pPr>
              <a:t>15/12/2021</a:t>
            </a:fld>
            <a:endParaRPr lang="fr-CA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с одним вырезанным скругленным углом 8"/>
          <p:cNvSpPr/>
          <p:nvPr/>
        </p:nvSpPr>
        <p:spPr>
          <a:xfrm rot="420000" flipV="1">
            <a:off x="2374315" y="1600556"/>
            <a:ext cx="3943350" cy="5943600"/>
          </a:xfrm>
          <a:prstGeom prst="snipRoundRect">
            <a:avLst>
              <a:gd name="adj1" fmla="val 0"/>
              <a:gd name="adj2" fmla="val 3646"/>
            </a:avLst>
          </a:prstGeom>
          <a:solidFill>
            <a:srgbClr val="FFFFFF"/>
          </a:solidFill>
          <a:ln w="3175" cap="rnd" cmpd="sng" algn="ctr">
            <a:solidFill>
              <a:srgbClr val="C0C0C0"/>
            </a:solidFill>
            <a:prstDash val="solid"/>
          </a:ln>
          <a:effectLst>
            <a:outerShdw blurRad="63500" dist="38500" dir="7500000" sx="98500" sy="100080" kx="100000" algn="tl" rotWithShape="0">
              <a:srgbClr val="000000">
                <a:alpha val="25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2" name="Прямоугольный треугольник 11"/>
          <p:cNvSpPr/>
          <p:nvPr/>
        </p:nvSpPr>
        <p:spPr>
          <a:xfrm rot="420000" flipV="1">
            <a:off x="6003101" y="7741889"/>
            <a:ext cx="116586" cy="224536"/>
          </a:xfrm>
          <a:prstGeom prst="rtTriangle">
            <a:avLst/>
          </a:prstGeom>
          <a:solidFill>
            <a:srgbClr val="FFFFFF"/>
          </a:solidFill>
          <a:ln w="12700" cap="flat" cmpd="sng" algn="ctr">
            <a:solidFill>
              <a:srgbClr val="FFFFFF"/>
            </a:solidFill>
            <a:prstDash val="solid"/>
            <a:bevel/>
          </a:ln>
          <a:effectLst>
            <a:outerShdw blurRad="19685" dist="6350" dir="12900000" algn="tl" rotWithShape="0">
              <a:srgbClr val="000000">
                <a:alpha val="47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700107"/>
            <a:ext cx="1659636" cy="2286008"/>
          </a:xfrm>
        </p:spPr>
        <p:txBody>
          <a:bodyPr vert="horz" lIns="45720" tIns="45720" rIns="45720" bIns="45720" anchor="b"/>
          <a:lstStyle>
            <a:lvl1pPr algn="l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4086022"/>
            <a:ext cx="1657350" cy="3147907"/>
          </a:xfrm>
        </p:spPr>
        <p:txBody>
          <a:bodyPr lIns="64008" rIns="45720" bIns="45720" anchor="t"/>
          <a:lstStyle>
            <a:lvl1pPr marL="0" indent="0" algn="l">
              <a:spcBef>
                <a:spcPts val="250"/>
              </a:spcBef>
              <a:buFontTx/>
              <a:buNone/>
              <a:defRPr sz="13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C5FEFE-5D8E-41FE-A7D5-BCBF8F139BEA}" type="datetime1">
              <a:rPr lang="fr-FR" smtClean="0"/>
              <a:pPr>
                <a:defRPr/>
              </a:pPr>
              <a:t>15/12/2021</a:t>
            </a:fld>
            <a:endParaRPr lang="fr-CA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057900" y="9181396"/>
            <a:ext cx="457200" cy="527402"/>
          </a:xfrm>
        </p:spPr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 rot="420000">
            <a:off x="2614345" y="1732636"/>
            <a:ext cx="3463290" cy="5679440"/>
          </a:xfrm>
          <a:prstGeom prst="rect">
            <a:avLst/>
          </a:prstGeom>
          <a:solidFill>
            <a:schemeClr val="bg2"/>
          </a:solidFill>
          <a:ln w="3000" cap="rnd">
            <a:solidFill>
              <a:srgbClr val="C0C0C0"/>
            </a:solidFill>
            <a:round/>
          </a:ln>
          <a:effectLst/>
        </p:spPr>
        <p:txBody>
          <a:bodyPr/>
          <a:lstStyle>
            <a:lvl1pPr marL="0" indent="0">
              <a:buNone/>
              <a:defRPr sz="3200"/>
            </a:lvl1pPr>
          </a:lstStyle>
          <a:p>
            <a:r>
              <a:rPr kumimoji="0" lang="ru-RU" smtClean="0"/>
              <a:t>Вставка рисунка</a:t>
            </a:r>
            <a:endParaRPr kumimoji="0" lang="en-US" dirty="0"/>
          </a:p>
        </p:txBody>
      </p:sp>
      <p:sp>
        <p:nvSpPr>
          <p:cNvPr id="10" name="Полилиния 9"/>
          <p:cNvSpPr>
            <a:spLocks/>
          </p:cNvSpPr>
          <p:nvPr/>
        </p:nvSpPr>
        <p:spPr bwMode="auto">
          <a:xfrm flipV="1">
            <a:off x="-7144" y="8401757"/>
            <a:ext cx="6872288" cy="1504244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Полилиния 10"/>
          <p:cNvSpPr>
            <a:spLocks/>
          </p:cNvSpPr>
          <p:nvPr/>
        </p:nvSpPr>
        <p:spPr bwMode="auto">
          <a:xfrm flipV="1">
            <a:off x="3286126" y="8984193"/>
            <a:ext cx="3571875" cy="921808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олилиния 6"/>
          <p:cNvSpPr>
            <a:spLocks/>
          </p:cNvSpPr>
          <p:nvPr/>
        </p:nvSpPr>
        <p:spPr bwMode="auto">
          <a:xfrm>
            <a:off x="-7144" y="-10318"/>
            <a:ext cx="6872288" cy="1504244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Полилиния 7"/>
          <p:cNvSpPr>
            <a:spLocks/>
          </p:cNvSpPr>
          <p:nvPr/>
        </p:nvSpPr>
        <p:spPr bwMode="auto">
          <a:xfrm>
            <a:off x="3286126" y="-10319"/>
            <a:ext cx="3571875" cy="921808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42900" y="1017016"/>
            <a:ext cx="6172200" cy="1651000"/>
          </a:xfrm>
          <a:prstGeom prst="rect">
            <a:avLst/>
          </a:prstGeom>
        </p:spPr>
        <p:txBody>
          <a:bodyPr vert="horz" lIns="0" rIns="0" bIns="0" anchor="b">
            <a:normAutofit/>
          </a:bodyPr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0" name="Текст 29"/>
          <p:cNvSpPr>
            <a:spLocks noGrp="1"/>
          </p:cNvSpPr>
          <p:nvPr>
            <p:ph type="body" idx="1"/>
          </p:nvPr>
        </p:nvSpPr>
        <p:spPr>
          <a:xfrm>
            <a:off x="342900" y="2795693"/>
            <a:ext cx="6172200" cy="6339840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10" name="Дата 9"/>
          <p:cNvSpPr>
            <a:spLocks noGrp="1"/>
          </p:cNvSpPr>
          <p:nvPr>
            <p:ph type="dt" sz="half" idx="2"/>
          </p:nvPr>
        </p:nvSpPr>
        <p:spPr>
          <a:xfrm>
            <a:off x="342900" y="9181396"/>
            <a:ext cx="1600200" cy="527402"/>
          </a:xfrm>
          <a:prstGeom prst="rect">
            <a:avLst/>
          </a:prstGeom>
        </p:spPr>
        <p:txBody>
          <a:bodyPr vert="horz" lIns="0" tIns="0" rIns="0" bIns="0" anchor="b"/>
          <a:lstStyle>
            <a:lvl1pPr algn="l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pPr>
              <a:defRPr/>
            </a:pPr>
            <a:fld id="{F38BE009-9004-4004-A7BF-5F7BDBF905CB}" type="datetime1">
              <a:rPr lang="fr-FR" smtClean="0"/>
              <a:pPr>
                <a:defRPr/>
              </a:pPr>
              <a:t>15/12/2021</a:t>
            </a:fld>
            <a:endParaRPr lang="fr-CA"/>
          </a:p>
        </p:txBody>
      </p:sp>
      <p:sp>
        <p:nvSpPr>
          <p:cNvPr id="22" name="Нижний колонтитул 21"/>
          <p:cNvSpPr>
            <a:spLocks noGrp="1"/>
          </p:cNvSpPr>
          <p:nvPr>
            <p:ph type="ftr" sz="quarter" idx="3"/>
          </p:nvPr>
        </p:nvSpPr>
        <p:spPr>
          <a:xfrm>
            <a:off x="2000250" y="9181396"/>
            <a:ext cx="2514600" cy="527402"/>
          </a:xfrm>
          <a:prstGeom prst="rect">
            <a:avLst/>
          </a:prstGeom>
        </p:spPr>
        <p:txBody>
          <a:bodyPr vert="horz" lIns="0" tIns="0" rIns="0" bIns="0" anchor="b"/>
          <a:lstStyle>
            <a:lvl1pPr algn="l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pPr>
              <a:defRPr/>
            </a:pPr>
            <a:endParaRPr lang="fr-CA"/>
          </a:p>
        </p:txBody>
      </p:sp>
      <p:sp>
        <p:nvSpPr>
          <p:cNvPr id="18" name="Номер слайда 17"/>
          <p:cNvSpPr>
            <a:spLocks noGrp="1"/>
          </p:cNvSpPr>
          <p:nvPr>
            <p:ph type="sldNum" sz="quarter" idx="4"/>
          </p:nvPr>
        </p:nvSpPr>
        <p:spPr>
          <a:xfrm>
            <a:off x="5943600" y="9181396"/>
            <a:ext cx="571500" cy="527402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  <p:grpSp>
        <p:nvGrpSpPr>
          <p:cNvPr id="2" name="Группа 1"/>
          <p:cNvGrpSpPr/>
          <p:nvPr/>
        </p:nvGrpSpPr>
        <p:grpSpPr>
          <a:xfrm>
            <a:off x="-14262" y="292367"/>
            <a:ext cx="6885411" cy="937768"/>
            <a:chOff x="-19045" y="216550"/>
            <a:chExt cx="9180548" cy="649224"/>
          </a:xfrm>
        </p:grpSpPr>
        <p:sp>
          <p:nvSpPr>
            <p:cNvPr id="12" name="Полилиния 11"/>
            <p:cNvSpPr>
              <a:spLocks/>
            </p:cNvSpPr>
            <p:nvPr/>
          </p:nvSpPr>
          <p:spPr bwMode="auto">
            <a:xfrm rot="21435692">
              <a:off x="-19045" y="216550"/>
              <a:ext cx="9163050" cy="64922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966"/>
                </a:cxn>
                <a:cxn ang="0">
                  <a:pos x="1608" y="282"/>
                </a:cxn>
                <a:cxn ang="0">
                  <a:pos x="4110" y="1008"/>
                </a:cxn>
                <a:cxn ang="0">
                  <a:pos x="5772" y="0"/>
                </a:cxn>
              </a:cxnLst>
              <a:rect l="0" t="0" r="0" b="0"/>
              <a:pathLst>
                <a:path w="5772" h="1055">
                  <a:moveTo>
                    <a:pt x="0" y="966"/>
                  </a:moveTo>
                  <a:cubicBezTo>
                    <a:pt x="282" y="738"/>
                    <a:pt x="923" y="275"/>
                    <a:pt x="1608" y="282"/>
                  </a:cubicBezTo>
                  <a:cubicBezTo>
                    <a:pt x="2293" y="289"/>
                    <a:pt x="3416" y="1055"/>
                    <a:pt x="4110" y="1008"/>
                  </a:cubicBezTo>
                  <a:cubicBezTo>
                    <a:pt x="4804" y="961"/>
                    <a:pt x="5426" y="210"/>
                    <a:pt x="5772" y="0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/>
            <a:p>
              <a:endParaRPr kumimoji="0" lang="en-US"/>
            </a:p>
          </p:txBody>
        </p:sp>
        <p:sp>
          <p:nvSpPr>
            <p:cNvPr id="13" name="Полилиния 12"/>
            <p:cNvSpPr>
              <a:spLocks/>
            </p:cNvSpPr>
            <p:nvPr/>
          </p:nvSpPr>
          <p:spPr bwMode="auto">
            <a:xfrm rot="21435692">
              <a:off x="-14309" y="290003"/>
              <a:ext cx="9175812" cy="530352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732"/>
                </a:cxn>
                <a:cxn ang="0">
                  <a:pos x="1638" y="228"/>
                </a:cxn>
                <a:cxn ang="0">
                  <a:pos x="4122" y="816"/>
                </a:cxn>
                <a:cxn ang="0">
                  <a:pos x="5766" y="0"/>
                </a:cxn>
              </a:cxnLst>
              <a:rect l="0" t="0" r="0" b="0"/>
              <a:pathLst>
                <a:path w="5766" h="854">
                  <a:moveTo>
                    <a:pt x="0" y="732"/>
                  </a:moveTo>
                  <a:cubicBezTo>
                    <a:pt x="273" y="647"/>
                    <a:pt x="951" y="214"/>
                    <a:pt x="1638" y="228"/>
                  </a:cubicBezTo>
                  <a:cubicBezTo>
                    <a:pt x="2325" y="242"/>
                    <a:pt x="3434" y="854"/>
                    <a:pt x="4122" y="816"/>
                  </a:cubicBezTo>
                  <a:cubicBezTo>
                    <a:pt x="4810" y="778"/>
                    <a:pt x="5424" y="170"/>
                    <a:pt x="5766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/>
            <a:p>
              <a:endParaRPr kumimoji="0" lang="en-US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29" r:id="rId12"/>
    <p:sldLayoutId id="2147483730" r:id="rId13"/>
    <p:sldLayoutId id="2147483731" r:id="rId14"/>
  </p:sldLayoutIdLst>
  <p:hf hdr="0" ftr="0" dt="0"/>
  <p:txStyles>
    <p:titleStyle>
      <a:lvl1pPr algn="l" rtl="0" eaLnBrk="1" latinLnBrk="0" hangingPunct="1">
        <a:spcBef>
          <a:spcPct val="0"/>
        </a:spcBef>
        <a:buNone/>
        <a:defRPr kumimoji="0" sz="5000" b="0" kern="1200">
          <a:ln>
            <a:noFill/>
          </a:ln>
          <a:solidFill>
            <a:schemeClr val="tx2"/>
          </a:solidFill>
          <a:effectLst/>
          <a:latin typeface="+mj-lt"/>
          <a:ea typeface="+mj-ea"/>
          <a:cs typeface="+mj-cs"/>
        </a:defRPr>
      </a:lvl1pPr>
    </p:titleStyle>
    <p:bodyStyle>
      <a:lvl1pPr marL="274320" indent="-274320" algn="l" rtl="0" eaLnBrk="1" latinLnBrk="0" hangingPunct="1">
        <a:spcBef>
          <a:spcPct val="20000"/>
        </a:spcBef>
        <a:buClr>
          <a:schemeClr val="accent3"/>
        </a:buClr>
        <a:buSzPct val="95000"/>
        <a:buFont typeface="Wingdings 2"/>
        <a:buChar char=""/>
        <a:defRPr kumimoji="0"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46888" algn="l" rtl="0" eaLnBrk="1" latinLnBrk="0" hangingPunct="1">
        <a:spcBef>
          <a:spcPct val="20000"/>
        </a:spcBef>
        <a:buClr>
          <a:schemeClr val="accent1"/>
        </a:buClr>
        <a:buSzPct val="85000"/>
        <a:buFont typeface="Wingdings 2"/>
        <a:buChar char="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46888" algn="l" rtl="0" eaLnBrk="1" latinLnBrk="0" hangingPunct="1">
        <a:spcBef>
          <a:spcPct val="20000"/>
        </a:spcBef>
        <a:buClr>
          <a:schemeClr val="accent2"/>
        </a:buClr>
        <a:buSzPct val="70000"/>
        <a:buFont typeface="Wingdings 2"/>
        <a:buChar char=""/>
        <a:defRPr kumimoji="0"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188720" indent="-210312" algn="l" rtl="0" eaLnBrk="1" latinLnBrk="0" hangingPunct="1">
        <a:spcBef>
          <a:spcPct val="20000"/>
        </a:spcBef>
        <a:buClr>
          <a:schemeClr val="accent3"/>
        </a:buClr>
        <a:buSzPct val="65000"/>
        <a:buFont typeface="Wingdings 2"/>
        <a:buChar char="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463040" indent="-210312" algn="l" rtl="0" eaLnBrk="1" latinLnBrk="0" hangingPunct="1">
        <a:spcBef>
          <a:spcPct val="20000"/>
        </a:spcBef>
        <a:buClr>
          <a:schemeClr val="accent4"/>
        </a:buClr>
        <a:buSzPct val="65000"/>
        <a:buFont typeface="Wingdings 2"/>
        <a:buChar char="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737360" indent="-210312" algn="l" rtl="0" eaLnBrk="1" latinLnBrk="0" hangingPunct="1">
        <a:spcBef>
          <a:spcPct val="20000"/>
        </a:spcBef>
        <a:buClr>
          <a:schemeClr val="accent5"/>
        </a:buClr>
        <a:buSzPct val="80000"/>
        <a:buFont typeface="Wingdings 2"/>
        <a:buChar char="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rtl="0" eaLnBrk="1" latinLnBrk="0" hangingPunct="1">
        <a:spcBef>
          <a:spcPct val="20000"/>
        </a:spcBef>
        <a:buClr>
          <a:schemeClr val="accent6"/>
        </a:buClr>
        <a:buSzPct val="80000"/>
        <a:buFont typeface="Wingdings 2"/>
        <a:buChar char="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194560" indent="-182880" algn="l" rtl="0" eaLnBrk="1" latinLnBrk="0" hangingPunct="1">
        <a:spcBef>
          <a:spcPct val="20000"/>
        </a:spcBef>
        <a:buClr>
          <a:schemeClr val="tx2"/>
        </a:buClr>
        <a:buChar char="•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468880" indent="-182880" algn="l" rtl="0" eaLnBrk="1" latinLnBrk="0" hangingPunct="1">
        <a:spcBef>
          <a:spcPct val="20000"/>
        </a:spcBef>
        <a:buClr>
          <a:schemeClr val="tx2"/>
        </a:buClr>
        <a:buFontTx/>
        <a:buChar char="•"/>
        <a:defRPr kumimoji="0"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1.xls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1.v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2.xls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2.v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2.xml"/><Relationship Id="rId6" Type="http://schemas.openxmlformats.org/officeDocument/2006/relationships/chart" Target="../charts/chart6.xml"/><Relationship Id="rId5" Type="http://schemas.openxmlformats.org/officeDocument/2006/relationships/chart" Target="../charts/chart5.xml"/><Relationship Id="rId4" Type="http://schemas.openxmlformats.org/officeDocument/2006/relationships/chart" Target="../charts/char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3.xls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3.v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4.xls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4.v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chart" Target="../charts/chart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5.xls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5.v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6.xls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6.v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7.xls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7.v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8.xls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8.v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9.xls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9.v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10.xls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10.v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11.xls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11.v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12.xls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12.v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13.xls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13.v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1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14.xls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14.vml"/><Relationship Id="rId4" Type="http://schemas.openxmlformats.org/officeDocument/2006/relationships/oleObject" Target="../embeddings/_____Microsoft_Office_Excel_97-200315.xls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4.xml"/><Relationship Id="rId3" Type="http://schemas.openxmlformats.org/officeDocument/2006/relationships/tags" Target="../tags/tag5.xml"/><Relationship Id="rId7" Type="http://schemas.openxmlformats.org/officeDocument/2006/relationships/chart" Target="../charts/chart13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slideLayout" Target="../slideLayouts/slideLayout12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tags" Target="../tags/tag20.xml"/><Relationship Id="rId18" Type="http://schemas.openxmlformats.org/officeDocument/2006/relationships/slideLayout" Target="../slideLayouts/slideLayout12.xml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tags" Target="../tags/tag19.xml"/><Relationship Id="rId17" Type="http://schemas.openxmlformats.org/officeDocument/2006/relationships/tags" Target="../tags/tag24.xml"/><Relationship Id="rId2" Type="http://schemas.openxmlformats.org/officeDocument/2006/relationships/tags" Target="../tags/tag9.xml"/><Relationship Id="rId16" Type="http://schemas.openxmlformats.org/officeDocument/2006/relationships/tags" Target="../tags/tag23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5" Type="http://schemas.openxmlformats.org/officeDocument/2006/relationships/tags" Target="../tags/tag12.xml"/><Relationship Id="rId15" Type="http://schemas.openxmlformats.org/officeDocument/2006/relationships/tags" Target="../tags/tag22.xml"/><Relationship Id="rId10" Type="http://schemas.openxmlformats.org/officeDocument/2006/relationships/tags" Target="../tags/tag17.xml"/><Relationship Id="rId19" Type="http://schemas.openxmlformats.org/officeDocument/2006/relationships/image" Target="../media/image25.jpeg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tags" Target="../tags/tag21.xml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13" Type="http://schemas.openxmlformats.org/officeDocument/2006/relationships/tags" Target="../tags/tag37.xml"/><Relationship Id="rId18" Type="http://schemas.openxmlformats.org/officeDocument/2006/relationships/tags" Target="../tags/tag42.xml"/><Relationship Id="rId26" Type="http://schemas.openxmlformats.org/officeDocument/2006/relationships/tags" Target="../tags/tag50.xml"/><Relationship Id="rId3" Type="http://schemas.openxmlformats.org/officeDocument/2006/relationships/tags" Target="../tags/tag27.xml"/><Relationship Id="rId21" Type="http://schemas.openxmlformats.org/officeDocument/2006/relationships/tags" Target="../tags/tag45.xml"/><Relationship Id="rId34" Type="http://schemas.openxmlformats.org/officeDocument/2006/relationships/image" Target="../media/image26.png"/><Relationship Id="rId7" Type="http://schemas.openxmlformats.org/officeDocument/2006/relationships/tags" Target="../tags/tag31.xml"/><Relationship Id="rId12" Type="http://schemas.openxmlformats.org/officeDocument/2006/relationships/tags" Target="../tags/tag36.xml"/><Relationship Id="rId17" Type="http://schemas.openxmlformats.org/officeDocument/2006/relationships/tags" Target="../tags/tag41.xml"/><Relationship Id="rId25" Type="http://schemas.openxmlformats.org/officeDocument/2006/relationships/tags" Target="../tags/tag49.xml"/><Relationship Id="rId33" Type="http://schemas.openxmlformats.org/officeDocument/2006/relationships/slideLayout" Target="../slideLayouts/slideLayout12.xml"/><Relationship Id="rId2" Type="http://schemas.openxmlformats.org/officeDocument/2006/relationships/tags" Target="../tags/tag26.xml"/><Relationship Id="rId16" Type="http://schemas.openxmlformats.org/officeDocument/2006/relationships/tags" Target="../tags/tag40.xml"/><Relationship Id="rId20" Type="http://schemas.openxmlformats.org/officeDocument/2006/relationships/tags" Target="../tags/tag44.xml"/><Relationship Id="rId29" Type="http://schemas.openxmlformats.org/officeDocument/2006/relationships/tags" Target="../tags/tag53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11" Type="http://schemas.openxmlformats.org/officeDocument/2006/relationships/tags" Target="../tags/tag35.xml"/><Relationship Id="rId24" Type="http://schemas.openxmlformats.org/officeDocument/2006/relationships/tags" Target="../tags/tag48.xml"/><Relationship Id="rId32" Type="http://schemas.openxmlformats.org/officeDocument/2006/relationships/tags" Target="../tags/tag56.xml"/><Relationship Id="rId5" Type="http://schemas.openxmlformats.org/officeDocument/2006/relationships/tags" Target="../tags/tag29.xml"/><Relationship Id="rId15" Type="http://schemas.openxmlformats.org/officeDocument/2006/relationships/tags" Target="../tags/tag39.xml"/><Relationship Id="rId23" Type="http://schemas.openxmlformats.org/officeDocument/2006/relationships/tags" Target="../tags/tag47.xml"/><Relationship Id="rId28" Type="http://schemas.openxmlformats.org/officeDocument/2006/relationships/tags" Target="../tags/tag52.xml"/><Relationship Id="rId10" Type="http://schemas.openxmlformats.org/officeDocument/2006/relationships/tags" Target="../tags/tag34.xml"/><Relationship Id="rId19" Type="http://schemas.openxmlformats.org/officeDocument/2006/relationships/tags" Target="../tags/tag43.xml"/><Relationship Id="rId31" Type="http://schemas.openxmlformats.org/officeDocument/2006/relationships/tags" Target="../tags/tag55.xml"/><Relationship Id="rId4" Type="http://schemas.openxmlformats.org/officeDocument/2006/relationships/tags" Target="../tags/tag28.xml"/><Relationship Id="rId9" Type="http://schemas.openxmlformats.org/officeDocument/2006/relationships/tags" Target="../tags/tag33.xml"/><Relationship Id="rId14" Type="http://schemas.openxmlformats.org/officeDocument/2006/relationships/tags" Target="../tags/tag38.xml"/><Relationship Id="rId22" Type="http://schemas.openxmlformats.org/officeDocument/2006/relationships/tags" Target="../tags/tag46.xml"/><Relationship Id="rId27" Type="http://schemas.openxmlformats.org/officeDocument/2006/relationships/tags" Target="../tags/tag51.xml"/><Relationship Id="rId30" Type="http://schemas.openxmlformats.org/officeDocument/2006/relationships/tags" Target="../tags/tag54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5" Type="http://schemas.openxmlformats.org/officeDocument/2006/relationships/image" Target="../media/image28.gif"/><Relationship Id="rId4" Type="http://schemas.openxmlformats.org/officeDocument/2006/relationships/image" Target="../media/image27.gif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gif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9.xml"/><Relationship Id="rId4" Type="http://schemas.openxmlformats.org/officeDocument/2006/relationships/chart" Target="../charts/chart15.xml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tags" Target="../tags/tag72.xml"/><Relationship Id="rId18" Type="http://schemas.openxmlformats.org/officeDocument/2006/relationships/slideLayout" Target="../slideLayouts/slideLayout12.xml"/><Relationship Id="rId3" Type="http://schemas.openxmlformats.org/officeDocument/2006/relationships/tags" Target="../tags/tag62.xml"/><Relationship Id="rId7" Type="http://schemas.openxmlformats.org/officeDocument/2006/relationships/tags" Target="../tags/tag66.xml"/><Relationship Id="rId12" Type="http://schemas.openxmlformats.org/officeDocument/2006/relationships/tags" Target="../tags/tag71.xml"/><Relationship Id="rId17" Type="http://schemas.openxmlformats.org/officeDocument/2006/relationships/tags" Target="../tags/tag76.xml"/><Relationship Id="rId2" Type="http://schemas.openxmlformats.org/officeDocument/2006/relationships/tags" Target="../tags/tag61.xml"/><Relationship Id="rId16" Type="http://schemas.openxmlformats.org/officeDocument/2006/relationships/tags" Target="../tags/tag75.xml"/><Relationship Id="rId1" Type="http://schemas.openxmlformats.org/officeDocument/2006/relationships/tags" Target="../tags/tag60.xml"/><Relationship Id="rId6" Type="http://schemas.openxmlformats.org/officeDocument/2006/relationships/tags" Target="../tags/tag65.xml"/><Relationship Id="rId11" Type="http://schemas.openxmlformats.org/officeDocument/2006/relationships/tags" Target="../tags/tag70.xml"/><Relationship Id="rId5" Type="http://schemas.openxmlformats.org/officeDocument/2006/relationships/tags" Target="../tags/tag64.xml"/><Relationship Id="rId15" Type="http://schemas.openxmlformats.org/officeDocument/2006/relationships/tags" Target="../tags/tag74.xml"/><Relationship Id="rId10" Type="http://schemas.openxmlformats.org/officeDocument/2006/relationships/tags" Target="../tags/tag69.xml"/><Relationship Id="rId4" Type="http://schemas.openxmlformats.org/officeDocument/2006/relationships/tags" Target="../tags/tag63.xml"/><Relationship Id="rId9" Type="http://schemas.openxmlformats.org/officeDocument/2006/relationships/tags" Target="../tags/tag68.xml"/><Relationship Id="rId14" Type="http://schemas.openxmlformats.org/officeDocument/2006/relationships/tags" Target="../tags/tag73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12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chart" Target="../charts/chart18.xml"/><Relationship Id="rId5" Type="http://schemas.openxmlformats.org/officeDocument/2006/relationships/image" Target="../media/image31.png"/><Relationship Id="rId4" Type="http://schemas.openxmlformats.org/officeDocument/2006/relationships/image" Target="../media/image30.jpe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Скругленный прямоугольник 4"/>
          <p:cNvSpPr/>
          <p:nvPr/>
        </p:nvSpPr>
        <p:spPr>
          <a:xfrm>
            <a:off x="1000108" y="452406"/>
            <a:ext cx="5518586" cy="8715436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indent="450850" algn="just">
              <a:lnSpc>
                <a:spcPts val="2880"/>
              </a:lnSpc>
              <a:defRPr/>
            </a:pPr>
            <a:endParaRPr lang="ru-RU" sz="1200" b="1" i="1" kern="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ru-RU" sz="1200" b="1" dirty="0">
              <a:solidFill>
                <a:schemeClr val="tx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 idx="4294967295"/>
          </p:nvPr>
        </p:nvSpPr>
        <p:spPr>
          <a:xfrm>
            <a:off x="755672" y="1881166"/>
            <a:ext cx="5888038" cy="5257800"/>
          </a:xfrm>
        </p:spPr>
        <p:txBody>
          <a:bodyPr>
            <a:normAutofit fontScale="90000"/>
          </a:bodyPr>
          <a:lstStyle/>
          <a:p>
            <a:pPr algn="ctr">
              <a:defRPr/>
            </a:pPr>
            <a:r>
              <a:rPr lang="ru-RU" sz="3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ЮДЖЕТ ДЛЯ ГРАЖДАН </a:t>
            </a:r>
            <a:br>
              <a:rPr lang="ru-RU" sz="3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3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3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3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 проекту решения Думы города-курорта Железноводска Ставропольского края </a:t>
            </a:r>
            <a:br>
              <a:rPr lang="ru-RU" sz="3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3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«О бюджете города-курорта Железноводска Ставропольского края </a:t>
            </a:r>
            <a:br>
              <a:rPr lang="ru-RU" sz="3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3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 2022 год и плановый период 2023-2024 годов»</a:t>
            </a:r>
            <a:r>
              <a:rPr lang="ru-RU" sz="60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60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cs typeface="Times New Roman" pitchFamily="18" charset="0"/>
              </a:rPr>
            </a:br>
            <a:endParaRPr lang="ru-RU" b="1" dirty="0"/>
          </a:p>
        </p:txBody>
      </p:sp>
      <p:pic>
        <p:nvPicPr>
          <p:cNvPr id="14" name="Picture 8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6858000" cy="15239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scene3d>
            <a:camera prst="orthographicFront">
              <a:rot lat="10800000" lon="0" rev="0"/>
            </a:camera>
            <a:lightRig rig="threePt" dir="t"/>
          </a:scene3d>
        </p:spPr>
      </p:pic>
      <p:pic>
        <p:nvPicPr>
          <p:cNvPr id="16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786322" y="8239148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500042" y="0"/>
            <a:ext cx="6357958" cy="9525032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направления бюджетной политики города-курорта Железноводска Ставропольского края на 2022 год и плановый период 2023 и 2024 годов</a:t>
            </a:r>
          </a:p>
          <a:p>
            <a:pPr marL="177800" indent="-177800"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77800" lvl="1" indent="-177800" algn="just" eaLnBrk="1" hangingPunct="1"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. Содействие достижению национальных целей развития посредством реализации муниципальных программ города-курорта Железноводска Ставропольского края, включающих в себя муниципальные  составляющие национальных проектов. При реализации интегрированных в структуру муниципальных программ национальных проектов, особое внимание будет сосредоточено на повышении качества управления муниципальными программами.</a:t>
            </a:r>
          </a:p>
          <a:p>
            <a:pPr marL="177800" lvl="1" algn="just" eaLnBrk="1" hangingPunct="1">
              <a:defRPr/>
            </a:pPr>
            <a:endParaRPr lang="ru-RU" sz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77800" lvl="1" indent="-177800" algn="just" eaLnBrk="1" hangingPunct="1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. Повышение эффективности и результативности бюджетных расходов.</a:t>
            </a:r>
          </a:p>
          <a:p>
            <a:pPr marL="177800" lvl="1" algn="just" eaLnBrk="1" hangingPunct="1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 этой целью необходимо проведение мероприятий:</a:t>
            </a:r>
          </a:p>
          <a:p>
            <a:pPr marL="177800" lvl="1" algn="just" eaLnBrk="1" hangingPunct="1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* безусловное исполнение принятых бюджетных обязательств;</a:t>
            </a:r>
          </a:p>
          <a:p>
            <a:pPr marL="269875" lvl="1" indent="-92075" algn="just" eaLnBrk="1" hangingPunct="1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* обеспечение режима экономного и рационального использования бюджетных средств;</a:t>
            </a:r>
          </a:p>
          <a:p>
            <a:pPr marL="177800" lvl="1" algn="just" eaLnBrk="1" hangingPunct="1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* обеспечение соблюдения норматива формирования расходов;</a:t>
            </a:r>
          </a:p>
          <a:p>
            <a:pPr marL="177800"/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* повышение качества оказания муниципальных и т.д.;</a:t>
            </a:r>
          </a:p>
          <a:p>
            <a:pPr marL="177800"/>
            <a:endParaRPr lang="ru-RU" sz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77800" lvl="1" indent="-177800" algn="just" eaLnBrk="1" hangingPunct="1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. Развитие инициативного бюджетирования</a:t>
            </a:r>
          </a:p>
          <a:p>
            <a:pPr marL="177800" lvl="1" algn="just" eaLnBrk="1" hangingPunct="1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еханизм инициативного бюджетирования применяется в целях прямого вовлечения жителей города в решение приоритетных вопросов местного значения, принятия конкретных решений по расходованию бюджетных средств и осуществления общественного контроля эффективности и результативности их использования.</a:t>
            </a:r>
          </a:p>
          <a:p>
            <a:pPr marL="177800" lvl="1" algn="just" eaLnBrk="1" hangingPunct="1">
              <a:defRPr/>
            </a:pPr>
            <a:endParaRPr lang="ru-RU" sz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77800" lvl="1" indent="-177800" algn="just" eaLnBrk="1" hangingPunct="1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4. Сохранение высокого уровня открытости бюджетных данных, характеризующих прозрачность бюджетного процесса в городе-курорте Железноводске Ставропольского края</a:t>
            </a:r>
          </a:p>
          <a:p>
            <a:pPr marL="177800" lvl="1" algn="just" eaLnBrk="1" hangingPunct="1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 целях обеспечения открытости и прозрачности бюджетного процесса необходимо продолжить работу по своевременному размещению информации на Едином портале бюджетной системы, официальном сайте Думы города, в средствах массовой информации.</a:t>
            </a:r>
          </a:p>
          <a:p>
            <a:pPr marL="177800" lvl="1" algn="just" eaLnBrk="1" hangingPunct="1">
              <a:defRPr/>
            </a:pPr>
            <a:endParaRPr lang="ru-RU" sz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77800" lvl="1" indent="-177800" algn="just" eaLnBrk="1" hangingPunct="1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5. Развитие информационных технологий в сфере управления муниципальными финансами города-курорта Железноводска Ставропольского края.</a:t>
            </a:r>
          </a:p>
          <a:p>
            <a:pPr marL="177800" lvl="1" algn="just" eaLnBrk="1" hangingPunct="1">
              <a:defRPr/>
            </a:pPr>
            <a:r>
              <a:rPr lang="ru-RU" sz="1200" dirty="0" smtClean="0">
                <a:solidFill>
                  <a:schemeClr val="tx1"/>
                </a:solidFill>
              </a:rPr>
              <a:t>В целях развития информационных технологий в сфере управления  муниципальными финансами города будет осуществлено обеспечение перехода на новый качественный уровень управления муниципальными финансами.</a:t>
            </a:r>
            <a:endParaRPr lang="ru-RU" sz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lvl="1" algn="just" eaLnBrk="1" hangingPunct="1">
              <a:defRPr/>
            </a:pPr>
            <a:endParaRPr lang="ru-RU" sz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10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направления налоговой политики города-курорта Железноводска Ставропольского края на 2022 год и плановый период 2023 и 2024 годов</a:t>
            </a:r>
          </a:p>
          <a:p>
            <a:pPr indent="358775"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77800" lvl="1" indent="-177800" algn="just" eaLnBrk="1" hangingPunct="1"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ддержка инвестиционной  и инновационной активности хозяйствующих субъектов, осуществляющих деятельность на территории города-курорта Железноводска Ставропольского края.</a:t>
            </a:r>
          </a:p>
          <a:p>
            <a:pPr marL="177800" lvl="1" algn="just" eaLnBrk="1" hangingPunct="1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 данном направлении продолжится реализация комплекса мер, направленных на формирование благоприятного инвестиционного климата и развитие конкурентоспособной экономики города.</a:t>
            </a:r>
          </a:p>
          <a:p>
            <a:pPr marL="177800" lvl="1" algn="just" eaLnBrk="1" hangingPunct="1">
              <a:defRPr/>
            </a:pPr>
            <a:endParaRPr lang="ru-RU" sz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77800" lvl="1" indent="-177800" algn="just" eaLnBrk="1" hangingPunct="1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.  Оценка эффективности налоговых расходов бюджета города.</a:t>
            </a:r>
          </a:p>
          <a:p>
            <a:pPr marL="177800" lvl="1" algn="just" eaLnBrk="1" hangingPunct="1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становлением администрации города-курорта Железноводска Ставропольского края от 08 мая 2020 г. № 345 «Об утверждении Порядка оценки налоговых расходов города-курорта Железноводска Ставропольского края» определены общие требования к оценке эффективности налоговых расходов бюджета города.</a:t>
            </a:r>
          </a:p>
          <a:p>
            <a:pPr marL="177800" lvl="1" algn="just" eaLnBrk="1" hangingPunct="1">
              <a:defRPr/>
            </a:pPr>
            <a:endParaRPr lang="ru-RU" sz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77800" lvl="1" indent="-177800" algn="just" eaLnBrk="1" hangingPunct="1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. Повышение эффективности управления муниципальными активами.</a:t>
            </a:r>
          </a:p>
          <a:p>
            <a:pPr marL="177800" lvl="1" algn="just" eaLnBrk="1" hangingPunct="1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 данном направлении следует провести: </a:t>
            </a:r>
          </a:p>
          <a:p>
            <a:pPr marL="360363" lvl="1" indent="-182563" algn="just" eaLnBrk="1" hangingPunct="1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* инвентаризацию объектов недвижимого имущества, находящегося в муниципальной собственности города-курорта Железноводска Ставропольского края;</a:t>
            </a:r>
          </a:p>
          <a:p>
            <a:pPr marL="360363" lvl="1" indent="-182563" algn="just" eaLnBrk="1" hangingPunct="1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* мониторинг финансово-хозяйственной деятельности муниципальных предприятий с целью увеличения их финансового результата.</a:t>
            </a:r>
          </a:p>
          <a:p>
            <a:pPr marL="177800" lvl="1" algn="just" eaLnBrk="1" hangingPunct="1">
              <a:defRPr/>
            </a:pPr>
            <a:endParaRPr lang="ru-RU" sz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77800" lvl="1" indent="-177800" algn="just" eaLnBrk="1" hangingPunct="1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4. Совершенствование администрирования налоговых и неналоговых доходов.</a:t>
            </a:r>
          </a:p>
          <a:p>
            <a:pPr marL="177800" lvl="1" algn="just" eaLnBrk="1" hangingPunct="1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вышению качества администрирования налоговых и неналоговых доходов бюджета города будет способствовать безусловное выполнение главными администраторами доходов бюджета города бюджетных полномочий в части обеспечения ими точности планирования и контроля за поступлением в бюджет города администрируемых налогов и сборов.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11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714356" y="166654"/>
            <a:ext cx="5929354" cy="928694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направления долговой политики города-курорта Железноводска Ставропольского края на 2022 год и плановый период 2023 и 2024 годов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88913" lvl="1" indent="-188913" algn="just"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. Поддержание объема муниципального долга на оптимальном уровне, в рамках которого предполагается:</a:t>
            </a:r>
          </a:p>
          <a:p>
            <a:pPr marL="360363" lvl="1" indent="-177800" algn="just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* установление и исполнение расходных обязательств города в пределах полномочий, отнесенных к полномочиям органов местного самоуправления; </a:t>
            </a:r>
          </a:p>
          <a:p>
            <a:pPr marL="360363" lvl="1" indent="-177800" algn="just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* проведение мероприятий, направленных на рост доходной и оптимизацию расходной частей бюджета города и приводящих к сокращению дефицита бюджета города и темпов прироста муниципального долга;</a:t>
            </a:r>
          </a:p>
          <a:p>
            <a:pPr marL="360363" lvl="1" indent="-177800" algn="just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* осуществление мониторинга использования бюджетных ассигнований получателями средств бюджета города в целях своевременного принятия решения о сокращении невостребованных бюджетных ассигнований и объема заимствований при исполнении бюджета города;</a:t>
            </a:r>
          </a:p>
          <a:p>
            <a:pPr marL="360363" lvl="1" indent="-177800" algn="just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* направление остатков средств на едином счете бюджета города, образовавшихся на начало текущего финансового года, и дополнительных доходов, поступивших сверх утвержденных годовых назначений, при исполнении бюджета города на сокращение дефицита бюджета города в целях снижения объема муниципального долга.</a:t>
            </a:r>
          </a:p>
          <a:p>
            <a:pPr marL="188913" lvl="1" indent="-6350" algn="just">
              <a:defRPr/>
            </a:pPr>
            <a:endParaRPr lang="ru-RU" sz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88913" lvl="1" indent="-188913" algn="just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. Минимизация стоимости обслуживания муниципального долга, в рамках которой предполагается: управление ликвидностью единого счета бюджета города;</a:t>
            </a:r>
          </a:p>
          <a:p>
            <a:pPr marL="360363" lvl="1" indent="-177800" algn="just">
              <a:buFont typeface="Arial" charset="0"/>
              <a:buChar char="•"/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проведение анализа процентных ставок  на рынке кредитов в целях минимизации расходов бюджета; </a:t>
            </a:r>
          </a:p>
          <a:p>
            <a:pPr marL="360363" lvl="1" indent="-177800" algn="just">
              <a:buFont typeface="Arial" charset="0"/>
              <a:buChar char="•"/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осуществление заимствований в кредитных организациях.</a:t>
            </a:r>
          </a:p>
          <a:p>
            <a:pPr marL="188913" lvl="1" indent="-6350" algn="just">
              <a:defRPr/>
            </a:pPr>
            <a:endParaRPr lang="ru-RU" sz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88913" lvl="1" indent="-188913" algn="just">
              <a:tabLst>
                <a:tab pos="90488" algn="l"/>
                <a:tab pos="360363" algn="l"/>
              </a:tabLst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. Равномерное распределение платежей, связанных с погашением и обслуживанием муниципального долга, в рамках которого предполагается:</a:t>
            </a:r>
          </a:p>
          <a:p>
            <a:pPr marL="360363" lvl="1" indent="-177800" algn="just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* проведение анализа сроков погашения действующих долговых обязательств города-курорта Железноводска Ставропольского края и выявление пиков платежей;</a:t>
            </a:r>
          </a:p>
          <a:p>
            <a:pPr marL="360363" lvl="1" indent="-177800" algn="just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* планирование графиков погашения долговых обязательств города-курорта Железноводска Ставропольского края.</a:t>
            </a:r>
          </a:p>
          <a:p>
            <a:pPr algn="just" eaLnBrk="1" hangingPunct="1">
              <a:defRPr/>
            </a:pPr>
            <a:endParaRPr lang="ru-RU" sz="12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12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642918" y="0"/>
            <a:ext cx="5929354" cy="923928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характеристики проекта бюджета города-курорта Железноводска Ставропольского края на 2022 год и плановый период 2023 и 2024 годов в сравнении с 2020 и 2021 годами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13</a:t>
            </a:fld>
            <a:endParaRPr lang="ru-RU" dirty="0"/>
          </a:p>
        </p:txBody>
      </p:sp>
      <p:graphicFrame>
        <p:nvGraphicFramePr>
          <p:cNvPr id="6" name="Object 92"/>
          <p:cNvGraphicFramePr>
            <a:graphicFrameLocks noChangeAspect="1"/>
          </p:cNvGraphicFramePr>
          <p:nvPr/>
        </p:nvGraphicFramePr>
        <p:xfrm>
          <a:off x="650815" y="5810256"/>
          <a:ext cx="5707143" cy="36169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 Box 1"/>
          <p:cNvSpPr txBox="1">
            <a:spLocks noChangeArrowheads="1"/>
          </p:cNvSpPr>
          <p:nvPr/>
        </p:nvSpPr>
        <p:spPr bwMode="auto">
          <a:xfrm>
            <a:off x="5357826" y="6096008"/>
            <a:ext cx="1143008" cy="28575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91440" tIns="45720" rIns="91440" bIns="45720" anchor="t" upright="1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l" rtl="0">
              <a:defRPr sz="1000"/>
            </a:pPr>
            <a:r>
              <a:rPr lang="ru-RU" sz="1200" b="1" i="0" u="none" strike="noStrike" baseline="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млн.рублей</a:t>
            </a:r>
            <a:endParaRPr lang="ru-RU" sz="1200" b="1" i="0" u="none" strike="noStrike" baseline="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/>
        </p:nvGraphicFramePr>
        <p:xfrm>
          <a:off x="642918" y="2319978"/>
          <a:ext cx="5934852" cy="34188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857256"/>
                <a:gridCol w="428628"/>
                <a:gridCol w="428628"/>
                <a:gridCol w="642942"/>
                <a:gridCol w="571504"/>
                <a:gridCol w="357190"/>
                <a:gridCol w="500066"/>
                <a:gridCol w="500066"/>
                <a:gridCol w="428628"/>
                <a:gridCol w="428628"/>
                <a:gridCol w="428628"/>
                <a:gridCol w="362688"/>
              </a:tblGrid>
              <a:tr h="370840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казатель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Факт за 2020 год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ценка на 2021 год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gridSpan="9"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solidFill>
                            <a:schemeClr val="tx1"/>
                          </a:solidFill>
                        </a:rPr>
                        <a:t>Проект</a:t>
                      </a:r>
                      <a:endParaRPr lang="ru-RU" sz="900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084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год</a:t>
                      </a: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тклонение</a:t>
                      </a: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год</a:t>
                      </a: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тклонение</a:t>
                      </a: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год</a:t>
                      </a: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тклонение</a:t>
                      </a: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084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+/-)</a:t>
                      </a: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+/-)</a:t>
                      </a: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+/-)</a:t>
                      </a: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ХОДЫ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905,9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807,9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956,9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+149,0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8,2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067,6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10,7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,6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871,3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196,4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9,5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 том числе: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логовые и неналоговые доходы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90,6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76,7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90,7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86,0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18,0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90,4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0,3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0,0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00,3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9,9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,5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езвозмездные поступления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515,3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331,2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566,2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31,6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7,3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677,2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11,0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7,1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471,0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206,3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12,3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Ы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842,3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866,2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956,9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90,7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,8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055,5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98,6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,0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871,3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184,2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8,9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ФИЦИТ  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+),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ЕФИЦИТ (-)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63,6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58,3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900" b="0" i="0" u="none" strike="noStrike">
                        <a:solidFill>
                          <a:srgbClr val="FF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0" i="0" u="none" strike="noStrike" dirty="0">
                        <a:solidFill>
                          <a:srgbClr val="FF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0" i="0" u="none" strike="noStrike" dirty="0">
                        <a:solidFill>
                          <a:srgbClr val="FF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2,1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900" b="0" i="0" u="none" strike="noStrike">
                        <a:solidFill>
                          <a:srgbClr val="FF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900" b="0" i="0" u="none" strike="noStrike" dirty="0">
                        <a:solidFill>
                          <a:srgbClr val="FF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900" b="0" i="0" u="none" strike="noStrike" dirty="0">
                        <a:solidFill>
                          <a:srgbClr val="FF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900" b="0" i="0" u="none" strike="noStrike" dirty="0">
                        <a:solidFill>
                          <a:srgbClr val="FF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900" b="0" i="0" u="none" strike="noStrike" dirty="0">
                        <a:solidFill>
                          <a:srgbClr val="FF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sp>
        <p:nvSpPr>
          <p:cNvPr id="11" name="Text Box 1"/>
          <p:cNvSpPr txBox="1">
            <a:spLocks noChangeArrowheads="1"/>
          </p:cNvSpPr>
          <p:nvPr/>
        </p:nvSpPr>
        <p:spPr bwMode="auto">
          <a:xfrm>
            <a:off x="5500702" y="1881166"/>
            <a:ext cx="1143008" cy="28575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91440" tIns="45720" rIns="91440" bIns="45720" anchor="t" upright="1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l" rtl="0">
              <a:defRPr sz="1000"/>
            </a:pPr>
            <a:r>
              <a:rPr lang="ru-RU" sz="1200" b="1" i="0" u="none" strike="noStrike" baseline="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млн.рублей</a:t>
            </a:r>
            <a:endParaRPr lang="ru-RU" sz="1200" b="1" i="0" u="none" strike="noStrike" baseline="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714356" y="238092"/>
            <a:ext cx="5929354" cy="9358378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ДОХОДЫ БЮДЖЕТА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ъем и структура налоговых и неналоговых доходов, планируемых к поступлению в бюджет города-курорта Железноводска Ставропольского края, в динамике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14</a:t>
            </a:fld>
            <a:endParaRPr lang="ru-RU" dirty="0"/>
          </a:p>
        </p:txBody>
      </p:sp>
      <p:sp>
        <p:nvSpPr>
          <p:cNvPr id="6" name="Text Box 1"/>
          <p:cNvSpPr txBox="1">
            <a:spLocks noChangeArrowheads="1"/>
          </p:cNvSpPr>
          <p:nvPr/>
        </p:nvSpPr>
        <p:spPr bwMode="auto">
          <a:xfrm>
            <a:off x="5357826" y="2452670"/>
            <a:ext cx="1176323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000000"/>
                </a:solidFill>
                <a:ea typeface="Calibri" pitchFamily="34" charset="0"/>
                <a:cs typeface="Times New Roman" pitchFamily="18" charset="0"/>
              </a:rPr>
              <a:t>млн.рублей</a:t>
            </a:r>
            <a:endParaRPr lang="ru-RU" sz="1400" b="1" dirty="0">
              <a:solidFill>
                <a:srgbClr val="000000"/>
              </a:solidFill>
              <a:ea typeface="Calibri" pitchFamily="34" charset="0"/>
              <a:cs typeface="Times New Roman" pitchFamily="18" charset="0"/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785794" y="2809860"/>
          <a:ext cx="5786476" cy="6392894"/>
        </p:xfrm>
        <a:graphic>
          <a:graphicData uri="http://schemas.openxmlformats.org/drawingml/2006/table">
            <a:tbl>
              <a:tblPr/>
              <a:tblGrid>
                <a:gridCol w="1365598"/>
                <a:gridCol w="921022"/>
                <a:gridCol w="920996"/>
                <a:gridCol w="859620"/>
                <a:gridCol w="859620"/>
                <a:gridCol w="859620"/>
              </a:tblGrid>
              <a:tr h="48990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latin typeface="Times New Roman"/>
                        </a:rPr>
                        <a:t>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latin typeface="Times New Roman"/>
                        </a:rPr>
                        <a:t>фактическое исполнение за </a:t>
                      </a:r>
                      <a:r>
                        <a:rPr lang="ru-RU" sz="1000" b="1" i="0" u="none" strike="noStrike" dirty="0" smtClean="0">
                          <a:latin typeface="Times New Roman"/>
                        </a:rPr>
                        <a:t>2020 </a:t>
                      </a:r>
                      <a:r>
                        <a:rPr lang="ru-RU" sz="1000" b="1" i="0" u="none" strike="noStrike" dirty="0">
                          <a:latin typeface="Times New Roman"/>
                        </a:rPr>
                        <a:t>год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latin typeface="Times New Roman"/>
                        </a:rPr>
                        <a:t>ожидаемые поступления за  </a:t>
                      </a:r>
                      <a:r>
                        <a:rPr lang="ru-RU" sz="1000" b="1" i="0" u="none" strike="noStrike" dirty="0" smtClean="0">
                          <a:latin typeface="Times New Roman"/>
                        </a:rPr>
                        <a:t>2021 </a:t>
                      </a:r>
                      <a:r>
                        <a:rPr lang="ru-RU" sz="1000" b="1" i="0" u="none" strike="noStrike" dirty="0">
                          <a:latin typeface="Times New Roman"/>
                        </a:rPr>
                        <a:t>год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latin typeface="Times New Roman"/>
                        </a:rPr>
                        <a:t> проект плана на </a:t>
                      </a:r>
                      <a:r>
                        <a:rPr lang="ru-RU" sz="1000" b="1" i="0" u="none" strike="noStrike" dirty="0" smtClean="0">
                          <a:latin typeface="Times New Roman"/>
                        </a:rPr>
                        <a:t>2022 </a:t>
                      </a:r>
                      <a:r>
                        <a:rPr lang="ru-RU" sz="1000" b="1" i="0" u="none" strike="noStrike" dirty="0">
                          <a:latin typeface="Times New Roman"/>
                        </a:rPr>
                        <a:t>год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latin typeface="Times New Roman"/>
                        </a:rPr>
                        <a:t>проект плана на </a:t>
                      </a:r>
                      <a:r>
                        <a:rPr lang="ru-RU" sz="1000" b="1" i="0" u="none" strike="noStrike" dirty="0" smtClean="0">
                          <a:latin typeface="Times New Roman"/>
                        </a:rPr>
                        <a:t>2023 </a:t>
                      </a:r>
                      <a:r>
                        <a:rPr lang="ru-RU" sz="1000" b="1" i="0" u="none" strike="noStrike" dirty="0">
                          <a:latin typeface="Times New Roman"/>
                        </a:rPr>
                        <a:t>год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latin typeface="Times New Roman"/>
                        </a:rPr>
                        <a:t>проект плана на </a:t>
                      </a:r>
                      <a:r>
                        <a:rPr lang="ru-RU" sz="1000" b="1" i="0" u="none" strike="noStrike" dirty="0" smtClean="0">
                          <a:latin typeface="Times New Roman"/>
                        </a:rPr>
                        <a:t>2024 </a:t>
                      </a:r>
                      <a:r>
                        <a:rPr lang="ru-RU" sz="1000" b="1" i="0" u="none" strike="noStrike" dirty="0">
                          <a:latin typeface="Times New Roman"/>
                        </a:rPr>
                        <a:t>год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2418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>
                          <a:latin typeface="Times New Roman"/>
                        </a:rPr>
                        <a:t>СОБСТВЕННЫЕ 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latin typeface="Times New Roman"/>
                        </a:rPr>
                        <a:t>390,6</a:t>
                      </a:r>
                      <a:endParaRPr lang="ru-RU" sz="10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latin typeface="Times New Roman"/>
                        </a:rPr>
                        <a:t>476,7</a:t>
                      </a:r>
                      <a:endParaRPr lang="ru-RU" sz="10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latin typeface="Times New Roman"/>
                        </a:rPr>
                        <a:t>390,7</a:t>
                      </a:r>
                      <a:endParaRPr lang="ru-RU" sz="10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latin typeface="Times New Roman"/>
                        </a:rPr>
                        <a:t>390,4</a:t>
                      </a:r>
                      <a:endParaRPr lang="ru-RU" sz="10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latin typeface="Times New Roman"/>
                        </a:rPr>
                        <a:t>400,3</a:t>
                      </a:r>
                      <a:endParaRPr lang="ru-RU" sz="10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599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>
                          <a:latin typeface="Times New Roman"/>
                        </a:rPr>
                        <a:t>НАЛОГОВЫЕ 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latin typeface="Times New Roman"/>
                        </a:rPr>
                        <a:t>334,3</a:t>
                      </a:r>
                      <a:endParaRPr lang="ru-RU" sz="10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latin typeface="Times New Roman"/>
                        </a:rPr>
                        <a:t>411,6</a:t>
                      </a:r>
                      <a:endParaRPr lang="ru-RU" sz="10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latin typeface="Times New Roman"/>
                        </a:rPr>
                        <a:t>329,8</a:t>
                      </a:r>
                      <a:endParaRPr lang="ru-RU" sz="10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latin typeface="Times New Roman"/>
                        </a:rPr>
                        <a:t>338,0</a:t>
                      </a:r>
                      <a:endParaRPr lang="ru-RU" sz="10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latin typeface="Times New Roman"/>
                        </a:rPr>
                        <a:t>348,0</a:t>
                      </a:r>
                      <a:endParaRPr lang="ru-RU" sz="10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913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>
                          <a:latin typeface="Times New Roman"/>
                        </a:rPr>
                        <a:t>Налог на доходы физических лиц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186,3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169,0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165,9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169,8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175,7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9992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latin typeface="Times New Roman"/>
                        </a:rPr>
                        <a:t>Акцизы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5,9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6,9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7,3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7,2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7,1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060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latin typeface="Times New Roman"/>
                        </a:rPr>
                        <a:t>Налог, взимаемый в связи с применением упрощенной системы налогообложени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latin typeface="Times New Roman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latin typeface="Times New Roman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31,0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31,2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31,4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060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latin typeface="Times New Roman"/>
                        </a:rPr>
                        <a:t>Единый налог на вмененный доход для отдельных видов деятельности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13,2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3,5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0,3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0,2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0,2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8043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latin typeface="Times New Roman"/>
                        </a:rPr>
                        <a:t>Единый сельскохозяйственный налог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0,03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0,01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0,01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0,01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0,01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060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latin typeface="Times New Roman"/>
                        </a:rPr>
                        <a:t>Налог, взимаемый в связи с применением патентной системы налогообложени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1,2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6,2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5,7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6,0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6,4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1629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>
                          <a:latin typeface="Times New Roman"/>
                        </a:rPr>
                        <a:t>Налог на имущество физических лиц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29,6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23,7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41,6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42,6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43,1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4523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>
                          <a:latin typeface="Times New Roman"/>
                        </a:rPr>
                        <a:t>Земельный налог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88,3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164,9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69,3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71,9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74,7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4523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>
                          <a:latin typeface="Times New Roman"/>
                        </a:rPr>
                        <a:t>Задолженность по отменным налогам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latin typeface="Times New Roman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latin typeface="Times New Roman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latin typeface="Times New Roman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latin typeface="Times New Roman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latin typeface="Times New Roman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1137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latin typeface="Times New Roman"/>
                        </a:rPr>
                        <a:t>Государственная пошлина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9,4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8,8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8,6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9,0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9,3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7479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>
                          <a:latin typeface="Times New Roman"/>
                        </a:rPr>
                        <a:t>НЕНАЛОГОВЫЕ 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latin typeface="Times New Roman"/>
                        </a:rPr>
                        <a:t>56,3</a:t>
                      </a:r>
                      <a:endParaRPr lang="ru-RU" sz="10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latin typeface="Times New Roman"/>
                        </a:rPr>
                        <a:t>65,1</a:t>
                      </a:r>
                      <a:endParaRPr lang="ru-RU" sz="10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latin typeface="Times New Roman"/>
                        </a:rPr>
                        <a:t>60,9</a:t>
                      </a:r>
                      <a:endParaRPr lang="ru-RU" sz="10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latin typeface="Times New Roman"/>
                        </a:rPr>
                        <a:t>52,4</a:t>
                      </a:r>
                      <a:endParaRPr lang="ru-RU" sz="10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latin typeface="Times New Roman"/>
                        </a:rPr>
                        <a:t>52,3</a:t>
                      </a:r>
                      <a:endParaRPr lang="ru-RU" sz="10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060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>
                          <a:latin typeface="Times New Roman"/>
                        </a:rPr>
                        <a:t>Доходы от использования муниципального имущества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41,5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48,5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47,2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46,2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46,1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4523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>
                          <a:latin typeface="Times New Roman"/>
                        </a:rPr>
                        <a:t>Прочие неналоговые 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9,5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8,8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8,6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9,0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9,3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ъем и структура налоговых и неналоговых доходов, планируемых к поступлению в бюджет города-курорта Железноводска Ставропольского края, в динамике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15</a:t>
            </a:fld>
            <a:endParaRPr lang="ru-RU" dirty="0"/>
          </a:p>
        </p:txBody>
      </p:sp>
      <p:sp>
        <p:nvSpPr>
          <p:cNvPr id="6" name="Text Box 1"/>
          <p:cNvSpPr txBox="1">
            <a:spLocks noChangeArrowheads="1"/>
          </p:cNvSpPr>
          <p:nvPr/>
        </p:nvSpPr>
        <p:spPr bwMode="auto">
          <a:xfrm>
            <a:off x="5357826" y="2095480"/>
            <a:ext cx="1176323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000000"/>
                </a:solidFill>
                <a:ea typeface="Calibri" pitchFamily="34" charset="0"/>
                <a:cs typeface="Times New Roman" pitchFamily="18" charset="0"/>
              </a:rPr>
              <a:t>млн.рублей</a:t>
            </a:r>
            <a:endParaRPr lang="ru-RU" sz="1400" b="1" dirty="0">
              <a:solidFill>
                <a:srgbClr val="000000"/>
              </a:solidFill>
              <a:ea typeface="Calibri" pitchFamily="34" charset="0"/>
              <a:cs typeface="Times New Roman" pitchFamily="18" charset="0"/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785794" y="2524108"/>
          <a:ext cx="5786476" cy="6835140"/>
        </p:xfrm>
        <a:graphic>
          <a:graphicData uri="http://schemas.openxmlformats.org/drawingml/2006/table">
            <a:tbl>
              <a:tblPr/>
              <a:tblGrid>
                <a:gridCol w="1365598"/>
                <a:gridCol w="921022"/>
                <a:gridCol w="920996"/>
                <a:gridCol w="859620"/>
                <a:gridCol w="859620"/>
                <a:gridCol w="859620"/>
              </a:tblGrid>
              <a:tr h="48990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latin typeface="Times New Roman"/>
                        </a:rPr>
                        <a:t>фактическое исполнение за </a:t>
                      </a:r>
                      <a:r>
                        <a:rPr lang="ru-RU" sz="1100" b="1" i="0" u="none" strike="noStrike" dirty="0" smtClean="0">
                          <a:latin typeface="Times New Roman"/>
                        </a:rPr>
                        <a:t>2020 </a:t>
                      </a:r>
                      <a:r>
                        <a:rPr lang="ru-RU" sz="1100" b="1" i="0" u="none" strike="noStrike" dirty="0">
                          <a:latin typeface="Times New Roman"/>
                        </a:rPr>
                        <a:t>год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latin typeface="Times New Roman"/>
                        </a:rPr>
                        <a:t>ожидаемые поступления за  </a:t>
                      </a:r>
                      <a:r>
                        <a:rPr lang="ru-RU" sz="1100" b="1" i="0" u="none" strike="noStrike" dirty="0" smtClean="0">
                          <a:latin typeface="Times New Roman"/>
                        </a:rPr>
                        <a:t>2021 </a:t>
                      </a:r>
                      <a:r>
                        <a:rPr lang="ru-RU" sz="1100" b="1" i="0" u="none" strike="noStrike" dirty="0">
                          <a:latin typeface="Times New Roman"/>
                        </a:rPr>
                        <a:t>год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latin typeface="Times New Roman"/>
                        </a:rPr>
                        <a:t> проект плана на </a:t>
                      </a:r>
                      <a:r>
                        <a:rPr lang="ru-RU" sz="1100" b="1" i="0" u="none" strike="noStrike" dirty="0" smtClean="0">
                          <a:latin typeface="Times New Roman"/>
                        </a:rPr>
                        <a:t>2022 </a:t>
                      </a:r>
                      <a:r>
                        <a:rPr lang="ru-RU" sz="1100" b="1" i="0" u="none" strike="noStrike" dirty="0">
                          <a:latin typeface="Times New Roman"/>
                        </a:rPr>
                        <a:t>год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latin typeface="Times New Roman"/>
                        </a:rPr>
                        <a:t>проект плана на </a:t>
                      </a:r>
                      <a:r>
                        <a:rPr lang="ru-RU" sz="1100" b="1" i="0" u="none" strike="noStrike" dirty="0" smtClean="0">
                          <a:latin typeface="Times New Roman"/>
                        </a:rPr>
                        <a:t>2023 </a:t>
                      </a:r>
                      <a:r>
                        <a:rPr lang="ru-RU" sz="1100" b="1" i="0" u="none" strike="noStrike" dirty="0">
                          <a:latin typeface="Times New Roman"/>
                        </a:rPr>
                        <a:t>год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latin typeface="Times New Roman"/>
                        </a:rPr>
                        <a:t>проект плана на </a:t>
                      </a:r>
                      <a:r>
                        <a:rPr lang="ru-RU" sz="1100" b="1" i="0" u="none" strike="noStrike" dirty="0" smtClean="0">
                          <a:latin typeface="Times New Roman"/>
                        </a:rPr>
                        <a:t>2024 </a:t>
                      </a:r>
                      <a:r>
                        <a:rPr lang="ru-RU" sz="1100" b="1" i="0" u="none" strike="noStrike" dirty="0">
                          <a:latin typeface="Times New Roman"/>
                        </a:rPr>
                        <a:t>год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2418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 smtClean="0">
                          <a:latin typeface="Times New Roman"/>
                        </a:rPr>
                        <a:t>СОБСТВЕННЫЕ </a:t>
                      </a:r>
                      <a:r>
                        <a:rPr lang="ru-RU" sz="1200" b="1" i="0" u="none" strike="noStrike" dirty="0">
                          <a:latin typeface="Times New Roman"/>
                        </a:rPr>
                        <a:t>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/>
                        </a:rPr>
                        <a:t>390,6</a:t>
                      </a:r>
                      <a:endParaRPr lang="ru-RU" sz="12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/>
                        </a:rPr>
                        <a:t>476,7</a:t>
                      </a:r>
                      <a:endParaRPr lang="ru-RU" sz="12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/>
                        </a:rPr>
                        <a:t>390,7</a:t>
                      </a:r>
                      <a:endParaRPr lang="ru-RU" sz="12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/>
                        </a:rPr>
                        <a:t>390,4</a:t>
                      </a:r>
                      <a:endParaRPr lang="ru-RU" sz="12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/>
                        </a:rPr>
                        <a:t>400,3</a:t>
                      </a:r>
                      <a:endParaRPr lang="ru-RU" sz="12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599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НАЛОГОВЫЕ 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334,3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411,6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329,8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338,0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348,0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913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НЕНАЛОГОВЫЕ 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56,3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65,1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60,9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52,4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52,3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9992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>
                          <a:latin typeface="Times New Roman"/>
                        </a:rPr>
                        <a:t>БЕЗВОЗМЕЗДНЫЕ ПОСТУПЛЕНИ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/>
                        </a:rPr>
                        <a:t>1524,3</a:t>
                      </a:r>
                      <a:endParaRPr lang="ru-RU" sz="12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1 </a:t>
                      </a:r>
                      <a:r>
                        <a:rPr lang="ru-RU" sz="1200" b="1" i="0" u="none" strike="noStrike" dirty="0" smtClean="0">
                          <a:latin typeface="Times New Roman"/>
                        </a:rPr>
                        <a:t>334,6</a:t>
                      </a:r>
                      <a:endParaRPr lang="ru-RU" sz="12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/>
                        </a:rPr>
                        <a:t>1566,2</a:t>
                      </a:r>
                      <a:endParaRPr lang="ru-RU" sz="12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1 </a:t>
                      </a:r>
                      <a:r>
                        <a:rPr lang="ru-RU" sz="1200" b="1" i="0" u="none" strike="noStrike" dirty="0" smtClean="0">
                          <a:latin typeface="Times New Roman"/>
                        </a:rPr>
                        <a:t>677,2</a:t>
                      </a:r>
                      <a:endParaRPr lang="ru-RU" sz="12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/>
                        </a:rPr>
                        <a:t>1470,9</a:t>
                      </a:r>
                      <a:endParaRPr lang="ru-RU" sz="12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060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Дотации бюджетам бюджетной системы Российской </a:t>
                      </a:r>
                      <a:r>
                        <a:rPr lang="ru-RU" sz="1200" b="0" i="0" u="none" strike="noStrike" dirty="0" smtClean="0">
                          <a:latin typeface="Times New Roman"/>
                        </a:rPr>
                        <a:t>Федерации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409,6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327,5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307,2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248,0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224,2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060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Субсидии бюджетам бюджетной системы Российской Федерации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366,8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210,6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424,7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622,5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421,4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8043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Субвенции бюджетам бюджетной системы Российской </a:t>
                      </a:r>
                      <a:r>
                        <a:rPr lang="ru-RU" sz="1200" b="0" i="0" u="none" strike="noStrike" dirty="0" smtClean="0">
                          <a:latin typeface="Times New Roman"/>
                        </a:rPr>
                        <a:t>Федерации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687,3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733,7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787,0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805,5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824,1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060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Иные межбюджетные </a:t>
                      </a:r>
                      <a:r>
                        <a:rPr lang="ru-RU" sz="1200" b="0" i="0" u="none" strike="noStrike" dirty="0" smtClean="0">
                          <a:latin typeface="Times New Roman"/>
                        </a:rPr>
                        <a:t>трансферты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60,6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62,8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47,3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1,2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1,2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1629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Прочие безвозмездные поступления в бюджеты городских </a:t>
                      </a:r>
                      <a:r>
                        <a:rPr lang="ru-RU" sz="1200" b="0" i="0" u="none" strike="noStrike" dirty="0" smtClean="0">
                          <a:latin typeface="Times New Roman"/>
                        </a:rPr>
                        <a:t>округов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1,2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0,9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4523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Возврат остатков прошлых лет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-10,2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-4,3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4523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 smtClean="0">
                          <a:latin typeface="Times New Roman"/>
                        </a:rPr>
                        <a:t>                                        ИТОГО</a:t>
                      </a:r>
                      <a:endParaRPr lang="ru-RU" sz="12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1 </a:t>
                      </a:r>
                      <a:r>
                        <a:rPr lang="ru-RU" sz="1200" b="1" i="0" u="none" strike="noStrike" dirty="0" smtClean="0">
                          <a:latin typeface="Times New Roman"/>
                        </a:rPr>
                        <a:t>905,9</a:t>
                      </a:r>
                      <a:endParaRPr lang="ru-RU" sz="12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/>
                        </a:rPr>
                        <a:t>1807,9</a:t>
                      </a:r>
                      <a:endParaRPr lang="ru-RU" sz="12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1 </a:t>
                      </a:r>
                      <a:r>
                        <a:rPr lang="ru-RU" sz="1200" b="1" i="0" u="none" strike="noStrike" dirty="0" smtClean="0">
                          <a:latin typeface="Times New Roman"/>
                        </a:rPr>
                        <a:t>956,9</a:t>
                      </a:r>
                      <a:endParaRPr lang="ru-RU" sz="12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/>
                        </a:rPr>
                        <a:t>2067,6</a:t>
                      </a:r>
                      <a:endParaRPr lang="ru-RU" sz="12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/>
                        </a:rPr>
                        <a:t>1871,2</a:t>
                      </a:r>
                      <a:endParaRPr lang="ru-RU" sz="12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инамика поступлений доходов бюджета города-курорта Железноводска Ставропольского края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16</a:t>
            </a:fld>
            <a:endParaRPr lang="ru-RU" dirty="0"/>
          </a:p>
        </p:txBody>
      </p:sp>
      <p:sp>
        <p:nvSpPr>
          <p:cNvPr id="6" name="Text Box 1"/>
          <p:cNvSpPr txBox="1">
            <a:spLocks noChangeArrowheads="1"/>
          </p:cNvSpPr>
          <p:nvPr/>
        </p:nvSpPr>
        <p:spPr bwMode="auto">
          <a:xfrm>
            <a:off x="5357826" y="2095480"/>
            <a:ext cx="1176323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000000"/>
                </a:solidFill>
                <a:ea typeface="Calibri" pitchFamily="34" charset="0"/>
                <a:cs typeface="Times New Roman" pitchFamily="18" charset="0"/>
              </a:rPr>
              <a:t>млн.рублей</a:t>
            </a:r>
            <a:endParaRPr lang="ru-RU" sz="1400" b="1" dirty="0">
              <a:solidFill>
                <a:srgbClr val="000000"/>
              </a:solidFill>
              <a:ea typeface="Calibri" pitchFamily="34" charset="0"/>
              <a:cs typeface="Times New Roman" pitchFamily="18" charset="0"/>
            </a:endParaRPr>
          </a:p>
        </p:txBody>
      </p:sp>
      <p:graphicFrame>
        <p:nvGraphicFramePr>
          <p:cNvPr id="10" name="Содержимое 8"/>
          <p:cNvGraphicFramePr>
            <a:graphicFrameLocks/>
          </p:cNvGraphicFramePr>
          <p:nvPr/>
        </p:nvGraphicFramePr>
        <p:xfrm>
          <a:off x="0" y="3309926"/>
          <a:ext cx="6858000" cy="4286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инамика налоговых и неналоговых доходов бюджета города-курорта Железноводска Ставропольского края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17</a:t>
            </a:fld>
            <a:endParaRPr lang="ru-RU" dirty="0"/>
          </a:p>
        </p:txBody>
      </p:sp>
      <p:sp>
        <p:nvSpPr>
          <p:cNvPr id="6" name="Text Box 1"/>
          <p:cNvSpPr txBox="1">
            <a:spLocks noChangeArrowheads="1"/>
          </p:cNvSpPr>
          <p:nvPr/>
        </p:nvSpPr>
        <p:spPr bwMode="auto">
          <a:xfrm>
            <a:off x="5357826" y="2095480"/>
            <a:ext cx="1176323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000000"/>
                </a:solidFill>
                <a:ea typeface="Calibri" pitchFamily="34" charset="0"/>
                <a:cs typeface="Times New Roman" pitchFamily="18" charset="0"/>
              </a:rPr>
              <a:t>млн.рублей</a:t>
            </a:r>
            <a:endParaRPr lang="ru-RU" sz="1400" b="1" dirty="0">
              <a:solidFill>
                <a:srgbClr val="000000"/>
              </a:solidFill>
              <a:ea typeface="Calibri" pitchFamily="34" charset="0"/>
              <a:cs typeface="Times New Roman" pitchFamily="18" charset="0"/>
            </a:endParaRPr>
          </a:p>
        </p:txBody>
      </p:sp>
      <p:graphicFrame>
        <p:nvGraphicFramePr>
          <p:cNvPr id="1026" name="Object 3"/>
          <p:cNvGraphicFramePr>
            <a:graphicFrameLocks noChangeAspect="1"/>
          </p:cNvGraphicFramePr>
          <p:nvPr/>
        </p:nvGraphicFramePr>
        <p:xfrm>
          <a:off x="1" y="2881298"/>
          <a:ext cx="9429792" cy="5715040"/>
        </p:xfrm>
        <a:graphic>
          <a:graphicData uri="http://schemas.openxmlformats.org/presentationml/2006/ole">
            <p:oleObj spid="_x0000_s1026" name="Worksheet" r:id="rId3" imgW="6229425" imgH="3200333" progId="Excel.Shee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труктура налоговых доходов бюджета города-курорта Железноводска Ставропольского края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18</a:t>
            </a:fld>
            <a:endParaRPr lang="ru-RU" dirty="0"/>
          </a:p>
        </p:txBody>
      </p:sp>
      <p:sp>
        <p:nvSpPr>
          <p:cNvPr id="6" name="Text Box 1"/>
          <p:cNvSpPr txBox="1">
            <a:spLocks noChangeArrowheads="1"/>
          </p:cNvSpPr>
          <p:nvPr/>
        </p:nvSpPr>
        <p:spPr bwMode="auto">
          <a:xfrm>
            <a:off x="5357826" y="2095480"/>
            <a:ext cx="1176323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000000"/>
                </a:solidFill>
                <a:ea typeface="Calibri" pitchFamily="34" charset="0"/>
                <a:cs typeface="Times New Roman" pitchFamily="18" charset="0"/>
              </a:rPr>
              <a:t>млн.рублей</a:t>
            </a:r>
            <a:endParaRPr lang="ru-RU" sz="1400" b="1" dirty="0">
              <a:solidFill>
                <a:srgbClr val="000000"/>
              </a:solidFill>
              <a:ea typeface="Calibri" pitchFamily="34" charset="0"/>
              <a:cs typeface="Times New Roman" pitchFamily="18" charset="0"/>
            </a:endParaRPr>
          </a:p>
        </p:txBody>
      </p:sp>
      <p:graphicFrame>
        <p:nvGraphicFramePr>
          <p:cNvPr id="2051" name="Object 4"/>
          <p:cNvGraphicFramePr>
            <a:graphicFrameLocks noGrp="1" noChangeAspect="1"/>
          </p:cNvGraphicFramePr>
          <p:nvPr/>
        </p:nvGraphicFramePr>
        <p:xfrm>
          <a:off x="0" y="2881298"/>
          <a:ext cx="7429526" cy="3786214"/>
        </p:xfrm>
        <a:graphic>
          <a:graphicData uri="http://schemas.openxmlformats.org/presentationml/2006/ole">
            <p:oleObj spid="_x0000_s2051" name="Worksheet" r:id="rId3" imgW="8858160" imgH="3352710" progId="Excel.Shee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714356" y="380968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ибольший удельный вес в доходной части бюджета города из числа налоговых доходов занимает НДФЛ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19</a:t>
            </a:fld>
            <a:endParaRPr lang="ru-RU" dirty="0"/>
          </a:p>
        </p:txBody>
      </p:sp>
      <p:sp>
        <p:nvSpPr>
          <p:cNvPr id="9" name="File"/>
          <p:cNvSpPr>
            <a:spLocks noEditPoints="1" noChangeArrowheads="1"/>
          </p:cNvSpPr>
          <p:nvPr/>
        </p:nvSpPr>
        <p:spPr bwMode="auto">
          <a:xfrm>
            <a:off x="356908" y="6305610"/>
            <a:ext cx="6387197" cy="2362166"/>
          </a:xfrm>
          <a:custGeom>
            <a:avLst/>
            <a:gdLst>
              <a:gd name="T0" fmla="*/ 2147483647 w 21600"/>
              <a:gd name="T1" fmla="*/ 2147483647 h 21600"/>
              <a:gd name="T2" fmla="*/ 0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0 w 21600"/>
              <a:gd name="T9" fmla="*/ 2147483647 h 21600"/>
              <a:gd name="T10" fmla="*/ 2147483647 w 21600"/>
              <a:gd name="T11" fmla="*/ 2147483647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1086 w 21600"/>
              <a:gd name="T19" fmla="*/ 4628 h 21600"/>
              <a:gd name="T20" fmla="*/ 20635 w 21600"/>
              <a:gd name="T21" fmla="*/ 20289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9790" y="3240"/>
                </a:moveTo>
                <a:cubicBezTo>
                  <a:pt x="10981" y="3240"/>
                  <a:pt x="9171" y="3240"/>
                  <a:pt x="9050" y="3086"/>
                </a:cubicBezTo>
                <a:cubicBezTo>
                  <a:pt x="9050" y="2931"/>
                  <a:pt x="8930" y="2777"/>
                  <a:pt x="8930" y="2469"/>
                </a:cubicBezTo>
                <a:cubicBezTo>
                  <a:pt x="8930" y="2160"/>
                  <a:pt x="8809" y="1851"/>
                  <a:pt x="8688" y="1389"/>
                </a:cubicBezTo>
                <a:cubicBezTo>
                  <a:pt x="8568" y="1080"/>
                  <a:pt x="8326" y="771"/>
                  <a:pt x="8085" y="463"/>
                </a:cubicBezTo>
                <a:cubicBezTo>
                  <a:pt x="7723" y="154"/>
                  <a:pt x="7361" y="0"/>
                  <a:pt x="7361" y="0"/>
                </a:cubicBezTo>
                <a:cubicBezTo>
                  <a:pt x="7361" y="0"/>
                  <a:pt x="2293" y="0"/>
                  <a:pt x="2051" y="154"/>
                </a:cubicBezTo>
                <a:cubicBezTo>
                  <a:pt x="1689" y="309"/>
                  <a:pt x="1448" y="463"/>
                  <a:pt x="1327" y="771"/>
                </a:cubicBezTo>
                <a:cubicBezTo>
                  <a:pt x="1207" y="1080"/>
                  <a:pt x="1086" y="1389"/>
                  <a:pt x="965" y="1697"/>
                </a:cubicBezTo>
                <a:cubicBezTo>
                  <a:pt x="845" y="2160"/>
                  <a:pt x="724" y="2314"/>
                  <a:pt x="724" y="2469"/>
                </a:cubicBezTo>
                <a:cubicBezTo>
                  <a:pt x="603" y="2623"/>
                  <a:pt x="603" y="2777"/>
                  <a:pt x="483" y="2931"/>
                </a:cubicBezTo>
                <a:cubicBezTo>
                  <a:pt x="483" y="3086"/>
                  <a:pt x="362" y="3240"/>
                  <a:pt x="241" y="3240"/>
                </a:cubicBezTo>
                <a:lnTo>
                  <a:pt x="0" y="3394"/>
                </a:lnTo>
                <a:lnTo>
                  <a:pt x="0" y="3703"/>
                </a:lnTo>
                <a:lnTo>
                  <a:pt x="0" y="10800"/>
                </a:lnTo>
                <a:lnTo>
                  <a:pt x="0" y="21600"/>
                </a:lnTo>
                <a:lnTo>
                  <a:pt x="10981" y="21600"/>
                </a:lnTo>
                <a:lnTo>
                  <a:pt x="21600" y="21600"/>
                </a:lnTo>
                <a:lnTo>
                  <a:pt x="21600" y="10800"/>
                </a:lnTo>
                <a:lnTo>
                  <a:pt x="21600" y="5246"/>
                </a:lnTo>
                <a:lnTo>
                  <a:pt x="21600" y="4783"/>
                </a:lnTo>
                <a:cubicBezTo>
                  <a:pt x="21479" y="4320"/>
                  <a:pt x="21359" y="4011"/>
                  <a:pt x="21117" y="3703"/>
                </a:cubicBezTo>
                <a:cubicBezTo>
                  <a:pt x="20876" y="3549"/>
                  <a:pt x="20514" y="3394"/>
                  <a:pt x="20152" y="3240"/>
                </a:cubicBezTo>
                <a:close/>
              </a:path>
            </a:pathLst>
          </a:custGeom>
          <a:blipFill>
            <a:blip r:embed="rId2" cstate="print"/>
            <a:tile tx="0" ty="0" sx="100000" sy="100000" flip="none" algn="tl"/>
          </a:blip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just"/>
            <a:r>
              <a:rPr lang="ru-RU" sz="1800" dirty="0" smtClean="0">
                <a:solidFill>
                  <a:schemeClr val="tx2">
                    <a:lumMod val="75000"/>
                  </a:schemeClr>
                </a:solidFill>
              </a:rPr>
              <a:t>Доходы бюджета города по налогу на доходы физических лиц в 2022 году составят 165,9 млн. руб.,      в 2023 году – 169,8 млн. руб., </a:t>
            </a:r>
          </a:p>
          <a:p>
            <a:pPr algn="just"/>
            <a:r>
              <a:rPr lang="ru-RU" sz="1800" dirty="0" smtClean="0">
                <a:solidFill>
                  <a:schemeClr val="tx2">
                    <a:lumMod val="75000"/>
                  </a:schemeClr>
                </a:solidFill>
              </a:rPr>
              <a:t>в 2024 году – 175,7 млн. руб.</a:t>
            </a:r>
          </a:p>
          <a:p>
            <a:pPr algn="just"/>
            <a:r>
              <a:rPr lang="ru-RU" sz="1800" dirty="0" smtClean="0">
                <a:solidFill>
                  <a:schemeClr val="tx2">
                    <a:lumMod val="75000"/>
                  </a:schemeClr>
                </a:solidFill>
              </a:rPr>
              <a:t>При расчете учитывался норматив отчислений в бюджет города в размере 27%. </a:t>
            </a:r>
          </a:p>
        </p:txBody>
      </p:sp>
      <p:graphicFrame>
        <p:nvGraphicFramePr>
          <p:cNvPr id="10" name="Диаграмма 9"/>
          <p:cNvGraphicFramePr/>
          <p:nvPr/>
        </p:nvGraphicFramePr>
        <p:xfrm>
          <a:off x="285728" y="3595678"/>
          <a:ext cx="2571768" cy="23273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1571612" y="5024438"/>
            <a:ext cx="1214446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500" dirty="0" smtClean="0"/>
              <a:t>50,0 %</a:t>
            </a:r>
          </a:p>
        </p:txBody>
      </p:sp>
      <p:graphicFrame>
        <p:nvGraphicFramePr>
          <p:cNvPr id="12" name="Диаграмма 11"/>
          <p:cNvGraphicFramePr/>
          <p:nvPr/>
        </p:nvGraphicFramePr>
        <p:xfrm>
          <a:off x="1571612" y="1809728"/>
          <a:ext cx="3714776" cy="23182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3" name="Диаграмма 12"/>
          <p:cNvGraphicFramePr/>
          <p:nvPr/>
        </p:nvGraphicFramePr>
        <p:xfrm>
          <a:off x="3554915" y="5144368"/>
          <a:ext cx="2322634" cy="910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4" name="Диаграмма 13"/>
          <p:cNvGraphicFramePr/>
          <p:nvPr/>
        </p:nvGraphicFramePr>
        <p:xfrm>
          <a:off x="3286124" y="4024306"/>
          <a:ext cx="3571876" cy="22459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928670" y="523844"/>
            <a:ext cx="5518586" cy="8715436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 ЖЕЛЕЗНОВОДСКЕ</a:t>
            </a:r>
          </a:p>
          <a:p>
            <a:pPr algn="ctr">
              <a:defRPr/>
            </a:pPr>
            <a:endParaRPr lang="ru-RU" sz="28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Железноводск - широко известный бальнеологический курорт Кавказских Минеральных Вод, расположенный у подножия горы Железная, на высоте 570-650 м над уровнем моря, в долине небольших рек Джеймук и Кучук. На территории курорта находится свыше 20 углекислых сульфатно-гидрокарбонатных кальциево-натриевых минеральных источников (</a:t>
            </a:r>
            <a:r>
              <a:rPr lang="ru-RU" sz="1200" i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лавяновский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, </a:t>
            </a:r>
            <a:r>
              <a:rPr lang="ru-RU" sz="1200" i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мирновский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 и др.), активно применяемых в лечении заболеваний органов пищеварения, почек, мочевыводящих путей и нарушений обмена веществ. Железноводские источники уникальны, так как кальциевые воды с высокой температурой крайне редко встречаются в природе. Температура некоторых минеральных источников превышает 50 градусов по Цельсию. В Европе нет подобных минеральных вод. Минеральные воды «Славяновская» и «Смирновская», помимо своих полезных свойств, по праву считаются одними из самых вкусных. Для лечения используется также иловая грязь Тамбуканского озера. Именно тут находится единственный на Кавказских Минеральных Водах лесопарк естественного происхождения, в котором произрастают растения степного, лесного и субальпийского поясов. Климат в Железноводске горно-степной, умеренно-сухой. Чистый ионизированный воздух и густые дубово-грабовые и буковые леса уберегают этот курорт от изнуряющего летнего зноя. Здесь проложено множество активных и экскурсионных маршрутов, знакомящих с уникальными достопримечательностями Кавказа. </a:t>
            </a:r>
          </a:p>
          <a:p>
            <a:pPr indent="450850" algn="just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Железноводск — самый маленький и тихий среди городов-курортов Кавказских Минеральных Вод. Население города  более пятидесяти тысяч человек, но, несмотря на небольшие размеры, это город имеет хорошо развитую инфраструктуру. </a:t>
            </a:r>
          </a:p>
          <a:p>
            <a:pPr indent="450850" algn="just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месте с тем, Железноводск — самый большой по занимаемой территории город Кавказских Минеральных Вод (93 га). В административные границы Железноводска входят: курортный поселок Иноземцево, поселок Капельница, станция Бештау, хутор Р.Люксембург.</a:t>
            </a:r>
          </a:p>
          <a:p>
            <a:pPr indent="450850" algn="just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Железноводск — самый динамично развивающийся курорт Кавминвод. В 2003 году ему присвоено звание «Лучший город России» среди малых городов. В 2020 году был проведен Всероссийский конкурс «Лучшая муниципальная практика», где Железноводск занял 1 место и получил 75 млн.рублей для внедрения системы «Умный город».В 2021 году  во  Всероссийском конкурсе  « Лучшая муниципальная  практика» город занял призовое место  с получением денежной премии  в размере 20 млн. руб., которая направлена на развитие города.    </a:t>
            </a:r>
          </a:p>
          <a:p>
            <a:pPr indent="450850" algn="just">
              <a:defRPr/>
            </a:pPr>
            <a:endParaRPr lang="ru-RU" sz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sz="1200" dirty="0" smtClean="0">
              <a:solidFill>
                <a:schemeClr val="tx1"/>
              </a:solidFill>
            </a:endParaRPr>
          </a:p>
          <a:p>
            <a:pPr indent="450850" algn="just">
              <a:lnSpc>
                <a:spcPts val="2880"/>
              </a:lnSpc>
              <a:defRPr/>
            </a:pPr>
            <a:endParaRPr lang="ru-RU" sz="1200" b="1" i="1" kern="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ru-RU" sz="1200" b="1" dirty="0">
              <a:solidFill>
                <a:schemeClr val="tx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2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285728" y="1166786"/>
            <a:ext cx="6357982" cy="6215106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Значительный удельный вес в доходной части бюджета города из числа налоговых доходов занимают налоги на имущество</a:t>
            </a: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548284" y="2872779"/>
            <a:ext cx="450059" cy="70788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4000" b="1" cap="none" spc="0" dirty="0" smtClean="0">
                <a:ln w="900" cmpd="sng">
                  <a:solidFill>
                    <a:schemeClr val="accent1">
                      <a:satMod val="190000"/>
                      <a:alpha val="55000"/>
                    </a:schemeClr>
                  </a:solidFill>
                  <a:prstDash val="solid"/>
                </a:ln>
                <a:solidFill>
                  <a:schemeClr val="accent1">
                    <a:satMod val="200000"/>
                    <a:tint val="3000"/>
                  </a:schemeClr>
                </a:solidFill>
                <a:effectLst>
                  <a:innerShdw blurRad="101600" dist="76200" dir="5400000">
                    <a:schemeClr val="accent1">
                      <a:satMod val="190000"/>
                      <a:tint val="100000"/>
                      <a:alpha val="74000"/>
                    </a:schemeClr>
                  </a:innerShdw>
                </a:effectLst>
              </a:rPr>
              <a:t>%</a:t>
            </a:r>
            <a:endParaRPr lang="ru-RU" sz="4000" b="1" cap="none" spc="0" dirty="0">
              <a:ln w="900" cmpd="sng">
                <a:solidFill>
                  <a:schemeClr val="accent1">
                    <a:satMod val="190000"/>
                    <a:alpha val="55000"/>
                  </a:schemeClr>
                </a:solidFill>
                <a:prstDash val="solid"/>
              </a:ln>
              <a:solidFill>
                <a:schemeClr val="accent1">
                  <a:satMod val="200000"/>
                  <a:tint val="3000"/>
                </a:schemeClr>
              </a:solidFill>
              <a:effectLst>
                <a:innerShdw blurRad="101600" dist="76200" dir="5400000">
                  <a:schemeClr val="accent1">
                    <a:satMod val="190000"/>
                    <a:tint val="100000"/>
                    <a:alpha val="74000"/>
                  </a:schemeClr>
                </a:innerShdw>
              </a:effectLst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428604" y="7239016"/>
            <a:ext cx="2500330" cy="2000223"/>
          </a:xfrm>
          <a:prstGeom prst="roundRect">
            <a:avLst/>
          </a:prstGeom>
          <a:solidFill>
            <a:schemeClr val="accent6">
              <a:lumMod val="40000"/>
              <a:lumOff val="60000"/>
              <a:alpha val="97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2400" dirty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ходы бюджета города по земельному налогу в 2022 году ниже уровня ожидаемых поступлений в 2021 году  на 95,6 млн. руб. </a:t>
            </a:r>
          </a:p>
          <a:p>
            <a:pPr algn="ctr"/>
            <a:endParaRPr lang="ru-RU" sz="1600" b="1" dirty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3214686" y="7239016"/>
            <a:ext cx="3326770" cy="2063091"/>
          </a:xfrm>
          <a:prstGeom prst="roundRect">
            <a:avLst/>
          </a:prstGeom>
          <a:solidFill>
            <a:schemeClr val="accent6">
              <a:lumMod val="40000"/>
              <a:lumOff val="60000"/>
              <a:alpha val="97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2400" dirty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x-none" sz="160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ходы бюджета города по налогу на имущество физических лиц в 20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2</a:t>
            </a:r>
            <a:r>
              <a:rPr lang="x-none" sz="160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  году 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ыше уровня ожидаемых поступлений в 2021 году на 17,9 млн.руб. </a:t>
            </a:r>
          </a:p>
          <a:p>
            <a:pPr algn="ctr"/>
            <a:endParaRPr lang="ru-RU" sz="16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600" b="1" dirty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19" name="Диаграмма 18"/>
          <p:cNvGraphicFramePr/>
          <p:nvPr/>
        </p:nvGraphicFramePr>
        <p:xfrm>
          <a:off x="0" y="2952736"/>
          <a:ext cx="7215238" cy="25717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труктура неналоговых доходов города-курорта Железноводска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auto">
          <a:xfrm>
            <a:off x="5000636" y="1809728"/>
            <a:ext cx="1243013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/>
              <a:t>млн.рублей</a:t>
            </a:r>
          </a:p>
        </p:txBody>
      </p:sp>
      <p:graphicFrame>
        <p:nvGraphicFramePr>
          <p:cNvPr id="10" name="Object 3"/>
          <p:cNvGraphicFramePr>
            <a:graphicFrameLocks noGrp="1" noChangeAspect="1"/>
          </p:cNvGraphicFramePr>
          <p:nvPr/>
        </p:nvGraphicFramePr>
        <p:xfrm>
          <a:off x="357166" y="2171700"/>
          <a:ext cx="6643734" cy="3495680"/>
        </p:xfrm>
        <a:graphic>
          <a:graphicData uri="http://schemas.openxmlformats.org/presentationml/2006/ole">
            <p:oleObj spid="_x0000_s4098" name="Worksheet" r:id="rId3" imgW="8581950" imgH="3324135" progId="Excel.Sheet.8">
              <p:embed/>
            </p:oleObj>
          </a:graphicData>
        </a:graphic>
      </p:graphicFrame>
      <p:sp>
        <p:nvSpPr>
          <p:cNvPr id="11" name="Скругленный прямоугольник 10"/>
          <p:cNvSpPr/>
          <p:nvPr/>
        </p:nvSpPr>
        <p:spPr>
          <a:xfrm>
            <a:off x="357166" y="6238884"/>
            <a:ext cx="3214710" cy="2656316"/>
          </a:xfrm>
          <a:prstGeom prst="roundRect">
            <a:avLst/>
          </a:prstGeom>
          <a:solidFill>
            <a:schemeClr val="accent6">
              <a:lumMod val="40000"/>
              <a:lumOff val="60000"/>
              <a:alpha val="97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ru-RU" sz="2400" dirty="0" smtClean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  <a:p>
            <a:pPr algn="ctr"/>
            <a:r>
              <a:rPr lang="ru-RU" sz="2400" dirty="0" smtClean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ую долю неналоговых доходов составляют доходы от использования имущества находящегося в муниципальной собственности, которые в 2021 году составят 48,5 млн. руб., в 2022 году - 47,2 млн. руб., в 2023 году - 46,2 млн. руб., в 2024 году - 46,1 млн.руб.</a:t>
            </a:r>
          </a:p>
          <a:p>
            <a:pPr algn="ctr"/>
            <a:endParaRPr lang="ru-RU" sz="16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600" b="1" dirty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3857628" y="6238884"/>
            <a:ext cx="2571768" cy="2727754"/>
          </a:xfrm>
          <a:prstGeom prst="roundRect">
            <a:avLst/>
          </a:prstGeom>
          <a:solidFill>
            <a:schemeClr val="accent6">
              <a:lumMod val="40000"/>
              <a:lumOff val="60000"/>
              <a:alpha val="97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2400" dirty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чие неналоговые доходы  ожидаемые в 2021 году составят 16,5 млн. руб., в 2022 году – 13,7 млн. руб., в 2023 году – 6,1 млн. руб., в 2024 году - 6,1 млн.руб.</a:t>
            </a:r>
          </a:p>
          <a:p>
            <a:pPr algn="ctr"/>
            <a:endParaRPr lang="ru-RU" sz="1600" b="1" dirty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ходы от использования имущества, находящегося в муниципальной собственности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3" name="Object 3"/>
          <p:cNvGraphicFramePr>
            <a:graphicFrameLocks noGrp="1" noChangeAspect="1"/>
          </p:cNvGraphicFramePr>
          <p:nvPr/>
        </p:nvGraphicFramePr>
        <p:xfrm>
          <a:off x="0" y="2311400"/>
          <a:ext cx="6654800" cy="3048000"/>
        </p:xfrm>
        <a:graphic>
          <a:graphicData uri="http://schemas.openxmlformats.org/presentationml/2006/ole">
            <p:oleObj spid="_x0000_s5123" name="Worksheet" r:id="rId3" imgW="4991220" imgH="2286000" progId="Excel.Sheet.8">
              <p:embed/>
            </p:oleObj>
          </a:graphicData>
        </a:graphic>
      </p:graphicFrame>
      <p:sp>
        <p:nvSpPr>
          <p:cNvPr id="14" name="Text Box 5"/>
          <p:cNvSpPr txBox="1">
            <a:spLocks noChangeArrowheads="1"/>
          </p:cNvSpPr>
          <p:nvPr/>
        </p:nvSpPr>
        <p:spPr bwMode="auto">
          <a:xfrm>
            <a:off x="4786322" y="2524108"/>
            <a:ext cx="1243013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/>
              <a:t>млн.рублей</a:t>
            </a: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214290" y="6667512"/>
            <a:ext cx="6464198" cy="1863520"/>
          </a:xfrm>
          <a:prstGeom prst="roundRect">
            <a:avLst/>
          </a:prstGeom>
          <a:solidFill>
            <a:schemeClr val="accent6">
              <a:lumMod val="40000"/>
              <a:lumOff val="60000"/>
              <a:alpha val="97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ru-RU" sz="2400" dirty="0" smtClean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  <a:p>
            <a:pPr algn="ctr"/>
            <a:r>
              <a:rPr lang="ru-RU" sz="2400" dirty="0" smtClean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ходы от использования имущества находящегося в муниципальной собственности ожидаемые в 2022 году составят  47,2 млн. руб.,                  в 2023 году – 46,2 млн. руб., в 2024 году – 46,1 млн. руб.</a:t>
            </a:r>
          </a:p>
          <a:p>
            <a:pPr algn="ctr"/>
            <a:endParaRPr lang="ru-RU" sz="16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600" b="1" dirty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649003" y="736654"/>
            <a:ext cx="509426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Структура безвозмездных поступлений в бюджет </a:t>
            </a:r>
            <a:br>
              <a:rPr lang="ru-RU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</a:br>
            <a:r>
              <a:rPr lang="ru-RU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города-курорта Железноводска Ставропольского края</a:t>
            </a:r>
            <a:endParaRPr lang="ru-RU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5" name="Диаграмма 4"/>
          <p:cNvGraphicFramePr/>
          <p:nvPr/>
        </p:nvGraphicFramePr>
        <p:xfrm>
          <a:off x="0" y="1855056"/>
          <a:ext cx="7536656" cy="70788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кругленный прямоугольник 3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accent4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РАСХОДЫ БЮДЖЕТА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accent4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 eaLnBrk="1" hangingPunct="1"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лановые назначения по расходам бюджета города-курорта Железноводска на 2022 год составят 1 956,9 млн. рублей, на 2023 год – 2 055,5 млн. рублей, в том числе условно утвержденные расходы – 15,7 млн. рублей, и на 2024 год – 1 871,3 млн. рублей, в том числе условно утвержденные расходы – 31,2 млн. рублей.</a:t>
            </a:r>
          </a:p>
          <a:p>
            <a:pPr indent="444500" algn="just" eaLnBrk="1" hangingPunct="1"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бюджета города в 2022 году возрастут на 90,7 млн. рублей относительно расходов 2021 года и увеличатся на 114,6 млн. рублей относительно расходов 2020 года, в 2023 году возрастут на 98,6 млн. рублей относительно уровня 2022 года, в 2024 году уменьшатся на 184,2 млн. рублей относительно уровня 2023 года. </a:t>
            </a:r>
          </a:p>
          <a:p>
            <a:pPr indent="444500" algn="just" eaLnBrk="1" hangingPunct="1">
              <a:defRPr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 eaLnBrk="1" hangingPunct="1">
              <a:defRPr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 eaLnBrk="1" hangingPunct="1"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инамика расходов бюджета города-курорта Железноводска Ставропольского края за 2020-2024 года</a:t>
            </a:r>
          </a:p>
          <a:p>
            <a:pPr indent="444500" algn="just" eaLnBrk="1" hangingPunct="1">
              <a:defRPr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1" name="Object 92"/>
          <p:cNvGraphicFramePr>
            <a:graphicFrameLocks noChangeAspect="1"/>
          </p:cNvGraphicFramePr>
          <p:nvPr/>
        </p:nvGraphicFramePr>
        <p:xfrm>
          <a:off x="857232" y="5595942"/>
          <a:ext cx="5357851" cy="34476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" name="Text Box 1"/>
          <p:cNvSpPr txBox="1">
            <a:spLocks noChangeArrowheads="1"/>
          </p:cNvSpPr>
          <p:nvPr/>
        </p:nvSpPr>
        <p:spPr bwMode="auto">
          <a:xfrm>
            <a:off x="5000636" y="5524504"/>
            <a:ext cx="1408793" cy="52321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91440" tIns="45720" rIns="91440" bIns="45720" anchor="t" upright="1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l" rtl="0">
              <a:defRPr sz="1000"/>
            </a:pPr>
            <a:r>
              <a:rPr lang="ru-RU" sz="1400" b="1" i="0" u="none" strike="noStrik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itchFamily="18" charset="0"/>
                <a:cs typeface="Times New Roman" pitchFamily="18" charset="0"/>
              </a:rPr>
              <a:t>млн.рублей</a:t>
            </a:r>
            <a:endParaRPr lang="ru-RU" sz="1400" b="1" i="0" u="none" strike="noStrike" baseline="0" dirty="0">
              <a:solidFill>
                <a:schemeClr val="tx1">
                  <a:lumMod val="85000"/>
                  <a:lumOff val="1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l" rtl="0">
              <a:defRPr sz="1000"/>
            </a:pPr>
            <a:endParaRPr lang="ru-RU" sz="1400" b="1" i="0" u="none" strike="noStrike" baseline="0" dirty="0">
              <a:solidFill>
                <a:schemeClr val="tx1">
                  <a:lumMod val="85000"/>
                  <a:lumOff val="1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6" name="Группа 9"/>
          <p:cNvGrpSpPr/>
          <p:nvPr/>
        </p:nvGrpSpPr>
        <p:grpSpPr>
          <a:xfrm rot="183112">
            <a:off x="1456726" y="5236717"/>
            <a:ext cx="2730101" cy="1124219"/>
            <a:chOff x="840757" y="3115098"/>
            <a:chExt cx="3060764" cy="1089100"/>
          </a:xfrm>
          <a:solidFill>
            <a:srgbClr val="00B050"/>
          </a:solidFill>
        </p:grpSpPr>
        <p:sp>
          <p:nvSpPr>
            <p:cNvPr id="7" name="Стрелка вверх 6"/>
            <p:cNvSpPr/>
            <p:nvPr>
              <p:custDataLst>
                <p:tags r:id="rId2"/>
              </p:custDataLst>
            </p:nvPr>
          </p:nvSpPr>
          <p:spPr>
            <a:xfrm rot="3863698">
              <a:off x="3630243" y="3129376"/>
              <a:ext cx="285556" cy="257000"/>
            </a:xfrm>
            <a:prstGeom prst="upArrow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Times New Roman" pitchFamily="18" charset="0"/>
                <a:cs typeface="Times New Roman" pitchFamily="18" charset="0"/>
              </a:endParaRPr>
            </a:p>
          </p:txBody>
        </p:sp>
        <p:cxnSp>
          <p:nvCxnSpPr>
            <p:cNvPr id="8" name="Прямая соединительная линия 7"/>
            <p:cNvCxnSpPr/>
            <p:nvPr/>
          </p:nvCxnSpPr>
          <p:spPr>
            <a:xfrm rot="20647029" flipH="1">
              <a:off x="840757" y="3746421"/>
              <a:ext cx="2824791" cy="457777"/>
            </a:xfrm>
            <a:prstGeom prst="line">
              <a:avLst/>
            </a:prstGeom>
            <a:grpFill/>
            <a:ln w="120650" cap="rnd">
              <a:gradFill flip="none" rotWithShape="1">
                <a:gsLst>
                  <a:gs pos="100000">
                    <a:srgbClr val="00B0F0"/>
                  </a:gs>
                  <a:gs pos="0">
                    <a:srgbClr val="00B0F0"/>
                  </a:gs>
                </a:gsLst>
                <a:lin ang="10800000" scaled="1"/>
                <a:tileRect/>
              </a:gra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Группа 25"/>
          <p:cNvGrpSpPr/>
          <p:nvPr/>
        </p:nvGrpSpPr>
        <p:grpSpPr>
          <a:xfrm rot="1732608">
            <a:off x="4021543" y="5838021"/>
            <a:ext cx="1672436" cy="196925"/>
            <a:chOff x="1389359" y="3286222"/>
            <a:chExt cx="1435312" cy="285556"/>
          </a:xfrm>
          <a:solidFill>
            <a:srgbClr val="FFCCFF"/>
          </a:solidFill>
        </p:grpSpPr>
        <p:sp>
          <p:nvSpPr>
            <p:cNvPr id="10" name="Стрелка вверх 9"/>
            <p:cNvSpPr/>
            <p:nvPr>
              <p:custDataLst>
                <p:tags r:id="rId1"/>
              </p:custDataLst>
            </p:nvPr>
          </p:nvSpPr>
          <p:spPr>
            <a:xfrm rot="5400000">
              <a:off x="2553393" y="3300500"/>
              <a:ext cx="285556" cy="257000"/>
            </a:xfrm>
            <a:prstGeom prst="upArrow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Times New Roman" pitchFamily="18" charset="0"/>
                <a:cs typeface="Times New Roman" pitchFamily="18" charset="0"/>
              </a:endParaRPr>
            </a:p>
          </p:txBody>
        </p:sp>
        <p:cxnSp>
          <p:nvCxnSpPr>
            <p:cNvPr id="12" name="Прямая соединительная линия 11"/>
            <p:cNvCxnSpPr/>
            <p:nvPr/>
          </p:nvCxnSpPr>
          <p:spPr>
            <a:xfrm flipH="1">
              <a:off x="1389359" y="3429000"/>
              <a:ext cx="1008112" cy="0"/>
            </a:xfrm>
            <a:prstGeom prst="line">
              <a:avLst/>
            </a:prstGeom>
            <a:grpFill/>
            <a:ln w="120650" cap="rnd">
              <a:gradFill flip="none" rotWithShape="1">
                <a:gsLst>
                  <a:gs pos="100000">
                    <a:srgbClr val="FFCCFF"/>
                  </a:gs>
                  <a:gs pos="2000">
                    <a:srgbClr val="FFCCFF"/>
                  </a:gs>
                </a:gsLst>
                <a:lin ang="10800000" scaled="1"/>
                <a:tileRect/>
              </a:gradFill>
              <a:prstDash val="sysDot"/>
              <a:beve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кругленный прямоугольник 3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indent="444500"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направления финансирования в 2022 году</a:t>
            </a:r>
          </a:p>
          <a:p>
            <a:pPr indent="44450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 eaLnBrk="1" hangingPunct="1"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ущественной расходной статьей традиционно остаются расходы на отрасли социальной сферы: в 2022 году на социальную политику запланировано 534,3 млн. рублей (27,3% от всех расходов бюджета города), на образование – 620,3 млн. рублей (31,7%), на культуру – 59,6 млн. рублей (3,0%), на физ.культуру и спорт – 19,9 млн.рублей (1,0%), что в общей сумме составляет 1 234,1 млн. рублей (63,1% от всех расходов бюджета города).</a:t>
            </a: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1" name="Диаграмма 10"/>
          <p:cNvGraphicFramePr/>
          <p:nvPr/>
        </p:nvGraphicFramePr>
        <p:xfrm>
          <a:off x="1285860" y="3309926"/>
          <a:ext cx="4572032" cy="25717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Text Box 1"/>
          <p:cNvSpPr txBox="1">
            <a:spLocks noChangeArrowheads="1"/>
          </p:cNvSpPr>
          <p:nvPr/>
        </p:nvSpPr>
        <p:spPr bwMode="auto">
          <a:xfrm>
            <a:off x="4500570" y="3309926"/>
            <a:ext cx="1555246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91440" tIns="45720" rIns="91440" bIns="45720" anchor="t" upright="1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l" rtl="0">
              <a:defRPr sz="1000"/>
            </a:pPr>
            <a:r>
              <a:rPr lang="ru-RU" sz="1400" b="1" i="0" u="none" strike="noStrik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itchFamily="18" charset="0"/>
                <a:cs typeface="Times New Roman" pitchFamily="18" charset="0"/>
              </a:rPr>
              <a:t>млн.рублей</a:t>
            </a:r>
            <a:endParaRPr lang="ru-RU" sz="1400" b="1" i="0" u="none" strike="noStrike" baseline="0" dirty="0">
              <a:solidFill>
                <a:schemeClr val="tx1">
                  <a:lumMod val="85000"/>
                  <a:lumOff val="1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" name="Object 92"/>
          <p:cNvGraphicFramePr>
            <a:graphicFrameLocks noChangeAspect="1"/>
          </p:cNvGraphicFramePr>
          <p:nvPr/>
        </p:nvGraphicFramePr>
        <p:xfrm>
          <a:off x="1071546" y="6024570"/>
          <a:ext cx="5357851" cy="34476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 Box 1"/>
          <p:cNvSpPr txBox="1">
            <a:spLocks noChangeArrowheads="1"/>
          </p:cNvSpPr>
          <p:nvPr/>
        </p:nvSpPr>
        <p:spPr bwMode="auto">
          <a:xfrm>
            <a:off x="3500438" y="6953264"/>
            <a:ext cx="1555246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91440" tIns="45720" rIns="91440" bIns="45720" anchor="t" upright="1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l" rtl="0">
              <a:defRPr sz="1000"/>
            </a:pPr>
            <a:r>
              <a:rPr lang="ru-RU" sz="1400" b="1" i="0" u="none" strike="noStrik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itchFamily="18" charset="0"/>
                <a:cs typeface="Times New Roman" pitchFamily="18" charset="0"/>
              </a:rPr>
              <a:t>млн.рублей</a:t>
            </a:r>
            <a:endParaRPr lang="ru-RU" sz="1400" b="1" i="0" u="none" strike="noStrike" baseline="0" dirty="0">
              <a:solidFill>
                <a:schemeClr val="tx1">
                  <a:lumMod val="85000"/>
                  <a:lumOff val="1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кругленный прямоугольник 3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циональные проекты в 2022 году</a:t>
            </a:r>
          </a:p>
          <a:p>
            <a:pPr indent="444500"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 eaLnBrk="1" hangingPunct="1"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иоритетным направлением расходования средств краевого бюджета в 2022 году и плановом периоде 2023 и 2024 годов является достижение национальных целей развития на период до 2030 года, определенных Указом Президента РФ от 21.07.2020 № 474 «О национальных целях развития Российской Федерации на период до 2030 года»,</a:t>
            </a:r>
            <a:r>
              <a:rPr lang="ru-RU" sz="1400" dirty="0" smtClean="0"/>
              <a:t> 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средством реализации региональных проектов, направленных на достижение соответствующих результатов реализации федеральных проектов, ориентированных на достижение целей и показателей национальных проектов.</a:t>
            </a:r>
          </a:p>
          <a:p>
            <a:pPr indent="444500" algn="just" eaLnBrk="1" hangingPunct="1"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щая сумма ассигнований на эти цели в будущем году составит 422,6</a:t>
            </a:r>
            <a:r>
              <a:rPr lang="ru-RU" sz="1400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лн. рублей. </a:t>
            </a:r>
          </a:p>
          <a:p>
            <a:pPr indent="44450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на </a:t>
            </a:r>
            <a:r>
              <a:rPr lang="ru-RU" sz="14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финансирование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региональных проектов на реализацию федеральных (национальных) проектов </a:t>
            </a:r>
          </a:p>
          <a:p>
            <a:pPr algn="ctr"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 2022 году</a:t>
            </a: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Text Box 5"/>
          <p:cNvSpPr txBox="1">
            <a:spLocks noChangeArrowheads="1"/>
          </p:cNvSpPr>
          <p:nvPr/>
        </p:nvSpPr>
        <p:spPr bwMode="auto">
          <a:xfrm>
            <a:off x="5143512" y="4524372"/>
            <a:ext cx="1428760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1" hangingPunct="1"/>
            <a:r>
              <a:rPr lang="ru-RU" sz="12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sp>
        <p:nvSpPr>
          <p:cNvPr id="29" name="Пятиугольник 28"/>
          <p:cNvSpPr/>
          <p:nvPr/>
        </p:nvSpPr>
        <p:spPr>
          <a:xfrm>
            <a:off x="2357430" y="4881562"/>
            <a:ext cx="2357454" cy="714380"/>
          </a:xfrm>
          <a:prstGeom prst="homePlate">
            <a:avLst/>
          </a:prstGeom>
          <a:gradFill>
            <a:gsLst>
              <a:gs pos="0">
                <a:schemeClr val="tx2">
                  <a:lumMod val="60000"/>
                  <a:lumOff val="40000"/>
                </a:schemeClr>
              </a:gs>
              <a:gs pos="50000">
                <a:schemeClr val="tx2">
                  <a:lumMod val="40000"/>
                  <a:lumOff val="60000"/>
                </a:schemeClr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5400000" scaled="0"/>
          </a:gradFill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</a:rPr>
              <a:t>Всего на реализацию проекта</a:t>
            </a:r>
            <a:endParaRPr lang="ru-RU" sz="1600" b="1" dirty="0">
              <a:solidFill>
                <a:schemeClr val="tx1"/>
              </a:solidFill>
            </a:endParaRPr>
          </a:p>
        </p:txBody>
      </p:sp>
      <p:sp>
        <p:nvSpPr>
          <p:cNvPr id="30" name="Овал 29"/>
          <p:cNvSpPr/>
          <p:nvPr/>
        </p:nvSpPr>
        <p:spPr>
          <a:xfrm>
            <a:off x="4929198" y="4881562"/>
            <a:ext cx="1714512" cy="770965"/>
          </a:xfrm>
          <a:prstGeom prst="ellipse">
            <a:avLst/>
          </a:prstGeom>
          <a:gradFill>
            <a:gsLst>
              <a:gs pos="0">
                <a:srgbClr val="FF6699"/>
              </a:gs>
              <a:gs pos="50000">
                <a:srgbClr val="FFCCCC"/>
              </a:gs>
              <a:gs pos="100000">
                <a:srgbClr val="FF6699"/>
              </a:gs>
            </a:gsLst>
            <a:lin ang="5400000" scaled="0"/>
          </a:gradFill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500" b="1" dirty="0" smtClean="0">
                <a:solidFill>
                  <a:schemeClr val="tx1"/>
                </a:solidFill>
              </a:rPr>
              <a:t>За счет местных средств</a:t>
            </a:r>
            <a:endParaRPr lang="ru-RU" sz="1500" b="1" dirty="0">
              <a:solidFill>
                <a:schemeClr val="tx1"/>
              </a:solidFill>
            </a:endParaRPr>
          </a:p>
        </p:txBody>
      </p:sp>
      <p:sp>
        <p:nvSpPr>
          <p:cNvPr id="31" name="Овал 30"/>
          <p:cNvSpPr/>
          <p:nvPr/>
        </p:nvSpPr>
        <p:spPr>
          <a:xfrm>
            <a:off x="5143512" y="5810256"/>
            <a:ext cx="1428760" cy="542074"/>
          </a:xfrm>
          <a:prstGeom prst="ellipse">
            <a:avLst/>
          </a:prstGeom>
          <a:gradFill>
            <a:gsLst>
              <a:gs pos="0">
                <a:srgbClr val="FF6699"/>
              </a:gs>
              <a:gs pos="50000">
                <a:srgbClr val="FFCCCC"/>
              </a:gs>
              <a:gs pos="100000">
                <a:srgbClr val="FF6699"/>
              </a:gs>
            </a:gsLst>
            <a:lin ang="5400000" scaled="0"/>
          </a:gra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0,2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2" name="Овал 31"/>
          <p:cNvSpPr/>
          <p:nvPr/>
        </p:nvSpPr>
        <p:spPr>
          <a:xfrm>
            <a:off x="5143512" y="6738950"/>
            <a:ext cx="1428760" cy="542074"/>
          </a:xfrm>
          <a:prstGeom prst="ellipse">
            <a:avLst/>
          </a:prstGeom>
          <a:gradFill>
            <a:gsLst>
              <a:gs pos="0">
                <a:srgbClr val="FF6699"/>
              </a:gs>
              <a:gs pos="50000">
                <a:srgbClr val="FFCCCC"/>
              </a:gs>
              <a:gs pos="100000">
                <a:srgbClr val="FF6699"/>
              </a:gs>
            </a:gsLst>
            <a:lin ang="5400000" scaled="0"/>
          </a:gra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0,01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3" name="Овал 32"/>
          <p:cNvSpPr/>
          <p:nvPr/>
        </p:nvSpPr>
        <p:spPr>
          <a:xfrm>
            <a:off x="5214950" y="7881958"/>
            <a:ext cx="1428760" cy="542074"/>
          </a:xfrm>
          <a:prstGeom prst="ellipse">
            <a:avLst/>
          </a:prstGeom>
          <a:gradFill>
            <a:gsLst>
              <a:gs pos="0">
                <a:srgbClr val="FF6699"/>
              </a:gs>
              <a:gs pos="50000">
                <a:srgbClr val="FFCCCC"/>
              </a:gs>
              <a:gs pos="100000">
                <a:srgbClr val="FF6699"/>
              </a:gs>
            </a:gsLst>
            <a:lin ang="5400000" scaled="0"/>
          </a:gra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2,2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4" name="Овал 33"/>
          <p:cNvSpPr/>
          <p:nvPr/>
        </p:nvSpPr>
        <p:spPr>
          <a:xfrm>
            <a:off x="5214950" y="8953528"/>
            <a:ext cx="1428760" cy="542074"/>
          </a:xfrm>
          <a:prstGeom prst="ellipse">
            <a:avLst/>
          </a:prstGeom>
          <a:gradFill>
            <a:gsLst>
              <a:gs pos="0">
                <a:srgbClr val="FF6699"/>
              </a:gs>
              <a:gs pos="50000">
                <a:srgbClr val="FFCCCC"/>
              </a:gs>
              <a:gs pos="100000">
                <a:srgbClr val="FF6699"/>
              </a:gs>
            </a:gsLst>
            <a:lin ang="5400000" scaled="0"/>
          </a:gra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0,0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5" name="Пятиугольник 34"/>
          <p:cNvSpPr/>
          <p:nvPr/>
        </p:nvSpPr>
        <p:spPr>
          <a:xfrm>
            <a:off x="3357562" y="5881694"/>
            <a:ext cx="1474127" cy="357190"/>
          </a:xfrm>
          <a:prstGeom prst="homePlate">
            <a:avLst/>
          </a:prstGeom>
          <a:gradFill>
            <a:gsLst>
              <a:gs pos="0">
                <a:schemeClr val="tx2">
                  <a:lumMod val="60000"/>
                  <a:lumOff val="40000"/>
                </a:schemeClr>
              </a:gs>
              <a:gs pos="50000">
                <a:schemeClr val="tx2">
                  <a:lumMod val="40000"/>
                  <a:lumOff val="60000"/>
                </a:schemeClr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5400000" scaled="0"/>
          </a:gra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3,7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6" name="Пятиугольник 35"/>
          <p:cNvSpPr/>
          <p:nvPr/>
        </p:nvSpPr>
        <p:spPr>
          <a:xfrm>
            <a:off x="3357562" y="6810388"/>
            <a:ext cx="1474127" cy="479891"/>
          </a:xfrm>
          <a:prstGeom prst="homePlate">
            <a:avLst/>
          </a:prstGeom>
          <a:gradFill>
            <a:gsLst>
              <a:gs pos="0">
                <a:schemeClr val="tx2">
                  <a:lumMod val="60000"/>
                  <a:lumOff val="40000"/>
                </a:schemeClr>
              </a:gs>
              <a:gs pos="50000">
                <a:schemeClr val="tx2">
                  <a:lumMod val="40000"/>
                  <a:lumOff val="60000"/>
                </a:schemeClr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5400000" scaled="0"/>
          </a:gra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127,9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7" name="Пятиугольник 36"/>
          <p:cNvSpPr/>
          <p:nvPr/>
        </p:nvSpPr>
        <p:spPr>
          <a:xfrm>
            <a:off x="3357562" y="7953396"/>
            <a:ext cx="1474127" cy="479891"/>
          </a:xfrm>
          <a:prstGeom prst="homePlate">
            <a:avLst/>
          </a:prstGeom>
          <a:gradFill>
            <a:gsLst>
              <a:gs pos="0">
                <a:schemeClr val="tx2">
                  <a:lumMod val="60000"/>
                  <a:lumOff val="40000"/>
                </a:schemeClr>
              </a:gs>
              <a:gs pos="50000">
                <a:schemeClr val="tx2">
                  <a:lumMod val="40000"/>
                  <a:lumOff val="60000"/>
                </a:schemeClr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5400000" scaled="0"/>
          </a:gra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224,3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8" name="Пятиугольник 37"/>
          <p:cNvSpPr/>
          <p:nvPr/>
        </p:nvSpPr>
        <p:spPr>
          <a:xfrm>
            <a:off x="3429000" y="9024966"/>
            <a:ext cx="1474127" cy="479891"/>
          </a:xfrm>
          <a:prstGeom prst="homePlate">
            <a:avLst/>
          </a:prstGeom>
          <a:gradFill>
            <a:gsLst>
              <a:gs pos="0">
                <a:schemeClr val="tx2">
                  <a:lumMod val="60000"/>
                  <a:lumOff val="40000"/>
                </a:schemeClr>
              </a:gs>
              <a:gs pos="50000">
                <a:schemeClr val="tx2">
                  <a:lumMod val="40000"/>
                  <a:lumOff val="60000"/>
                </a:schemeClr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5400000" scaled="0"/>
          </a:gra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66,7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214290" y="5810256"/>
            <a:ext cx="2962588" cy="500066"/>
          </a:xfrm>
          <a:prstGeom prst="roundRect">
            <a:avLst>
              <a:gd name="adj" fmla="val 20374"/>
            </a:avLst>
          </a:prstGeom>
          <a:solidFill>
            <a:srgbClr val="A5C4E9">
              <a:alpha val="49000"/>
            </a:srgb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lIns="108000" tIns="144000" anchor="ctr"/>
          <a:lstStyle/>
          <a:p>
            <a:pPr>
              <a:lnSpc>
                <a:spcPts val="1400"/>
              </a:lnSpc>
            </a:pP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0" name="Rectangle 19"/>
          <p:cNvSpPr>
            <a:spLocks noChangeArrowheads="1"/>
          </p:cNvSpPr>
          <p:nvPr/>
        </p:nvSpPr>
        <p:spPr bwMode="auto">
          <a:xfrm>
            <a:off x="285728" y="5953132"/>
            <a:ext cx="2786082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85763" indent="-385763" algn="ctr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2000" b="1" dirty="0" smtClean="0">
                <a:solidFill>
                  <a:srgbClr val="333300"/>
                </a:solidFill>
                <a:latin typeface="Arial" charset="0"/>
              </a:rPr>
              <a:t>«Культурная среда»</a:t>
            </a:r>
            <a:endParaRPr lang="ru-RU" sz="2000" b="1" dirty="0">
              <a:solidFill>
                <a:srgbClr val="333300"/>
              </a:solidFill>
              <a:latin typeface="Arial" charset="0"/>
            </a:endParaRPr>
          </a:p>
        </p:txBody>
      </p:sp>
      <p:sp>
        <p:nvSpPr>
          <p:cNvPr id="41" name="Скругленный прямоугольник 40"/>
          <p:cNvSpPr/>
          <p:nvPr/>
        </p:nvSpPr>
        <p:spPr>
          <a:xfrm>
            <a:off x="214290" y="6453198"/>
            <a:ext cx="2962588" cy="1214446"/>
          </a:xfrm>
          <a:prstGeom prst="roundRect">
            <a:avLst>
              <a:gd name="adj" fmla="val 20374"/>
            </a:avLst>
          </a:prstGeom>
          <a:solidFill>
            <a:srgbClr val="A5C4E9">
              <a:alpha val="49000"/>
            </a:srgb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lIns="108000" tIns="144000" anchor="ctr"/>
          <a:lstStyle/>
          <a:p>
            <a:pPr>
              <a:lnSpc>
                <a:spcPts val="1400"/>
              </a:lnSpc>
            </a:pP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2" name="Rectangle 19"/>
          <p:cNvSpPr>
            <a:spLocks noChangeArrowheads="1"/>
          </p:cNvSpPr>
          <p:nvPr/>
        </p:nvSpPr>
        <p:spPr bwMode="auto">
          <a:xfrm>
            <a:off x="214290" y="6524636"/>
            <a:ext cx="2843746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85763" indent="-385763" algn="ctr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2000" b="1" dirty="0" smtClean="0">
                <a:solidFill>
                  <a:srgbClr val="333300"/>
                </a:solidFill>
                <a:latin typeface="Arial" charset="0"/>
              </a:rPr>
              <a:t>«Формирование комфортной городской среды»</a:t>
            </a:r>
            <a:endParaRPr lang="ru-RU" sz="2000" b="1" dirty="0">
              <a:solidFill>
                <a:srgbClr val="333300"/>
              </a:solidFill>
              <a:latin typeface="Arial" charset="0"/>
            </a:endParaRPr>
          </a:p>
        </p:txBody>
      </p:sp>
      <p:sp>
        <p:nvSpPr>
          <p:cNvPr id="43" name="Скругленный прямоугольник 42"/>
          <p:cNvSpPr/>
          <p:nvPr/>
        </p:nvSpPr>
        <p:spPr>
          <a:xfrm>
            <a:off x="285728" y="7953396"/>
            <a:ext cx="2891150" cy="500066"/>
          </a:xfrm>
          <a:prstGeom prst="roundRect">
            <a:avLst>
              <a:gd name="adj" fmla="val 20374"/>
            </a:avLst>
          </a:prstGeom>
          <a:solidFill>
            <a:srgbClr val="A5C4E9">
              <a:alpha val="49000"/>
            </a:srgb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lIns="108000" tIns="144000" anchor="ctr"/>
          <a:lstStyle/>
          <a:p>
            <a:pPr>
              <a:lnSpc>
                <a:spcPts val="1400"/>
              </a:lnSpc>
            </a:pP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4" name="Rectangle 19"/>
          <p:cNvSpPr>
            <a:spLocks noChangeArrowheads="1"/>
          </p:cNvSpPr>
          <p:nvPr/>
        </p:nvSpPr>
        <p:spPr bwMode="auto">
          <a:xfrm>
            <a:off x="500042" y="8024834"/>
            <a:ext cx="2486556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85763" indent="-385763" algn="ctr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2000" b="1" dirty="0" smtClean="0">
                <a:solidFill>
                  <a:srgbClr val="333300"/>
                </a:solidFill>
                <a:latin typeface="Arial" charset="0"/>
              </a:rPr>
              <a:t>«Чистая страна»</a:t>
            </a:r>
            <a:endParaRPr lang="ru-RU" sz="2000" b="1" dirty="0">
              <a:solidFill>
                <a:srgbClr val="333300"/>
              </a:solidFill>
              <a:latin typeface="Arial" charset="0"/>
            </a:endParaRPr>
          </a:p>
        </p:txBody>
      </p:sp>
      <p:sp>
        <p:nvSpPr>
          <p:cNvPr id="45" name="Скругленный прямоугольник 44"/>
          <p:cNvSpPr/>
          <p:nvPr/>
        </p:nvSpPr>
        <p:spPr>
          <a:xfrm>
            <a:off x="214290" y="8596338"/>
            <a:ext cx="2962588" cy="1143008"/>
          </a:xfrm>
          <a:prstGeom prst="roundRect">
            <a:avLst>
              <a:gd name="adj" fmla="val 20374"/>
            </a:avLst>
          </a:prstGeom>
          <a:solidFill>
            <a:srgbClr val="A5C4E9">
              <a:alpha val="49000"/>
            </a:srgb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lIns="108000" tIns="144000" anchor="ctr"/>
          <a:lstStyle/>
          <a:p>
            <a:pPr>
              <a:lnSpc>
                <a:spcPts val="1400"/>
              </a:lnSpc>
            </a:pP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6" name="Rectangle 19"/>
          <p:cNvSpPr>
            <a:spLocks noChangeArrowheads="1"/>
          </p:cNvSpPr>
          <p:nvPr/>
        </p:nvSpPr>
        <p:spPr bwMode="auto">
          <a:xfrm>
            <a:off x="0" y="8667776"/>
            <a:ext cx="3129474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85763" indent="-385763" algn="ctr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2000" b="1" dirty="0" smtClean="0">
                <a:solidFill>
                  <a:srgbClr val="333300"/>
                </a:solidFill>
                <a:latin typeface="Arial" charset="0"/>
              </a:rPr>
              <a:t>«Финансовая поддержка семей при рождении детей»</a:t>
            </a:r>
            <a:endParaRPr lang="ru-RU" sz="2000" b="1" dirty="0">
              <a:solidFill>
                <a:srgbClr val="333300"/>
              </a:solidFill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Скругленный прямоугольник 24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на </a:t>
            </a:r>
            <a:r>
              <a:rPr lang="ru-RU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финансирование</a:t>
            </a: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убсидий из регионального (краевого) бюджета </a:t>
            </a:r>
          </a:p>
          <a:p>
            <a:pPr algn="ctr">
              <a:defRPr/>
            </a:pPr>
            <a:r>
              <a:rPr lang="ru-RU" alt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 2022 году</a:t>
            </a: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6" name="Text Box 5"/>
          <p:cNvSpPr txBox="1">
            <a:spLocks noChangeArrowheads="1"/>
          </p:cNvSpPr>
          <p:nvPr/>
        </p:nvSpPr>
        <p:spPr bwMode="auto">
          <a:xfrm>
            <a:off x="5000636" y="2095480"/>
            <a:ext cx="1373196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142852" y="2524108"/>
          <a:ext cx="6470672" cy="71911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70408"/>
                <a:gridCol w="1071570"/>
                <a:gridCol w="928694"/>
              </a:tblGrid>
              <a:tr h="1285884"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>
                          <a:solidFill>
                            <a:sysClr val="windowText" lastClr="000000"/>
                          </a:solidFill>
                        </a:rPr>
                        <a:t>Наименование субсидии</a:t>
                      </a:r>
                      <a:endParaRPr lang="ru-RU" sz="15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T="36000" marB="3600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>
                          <a:solidFill>
                            <a:schemeClr val="tx1"/>
                          </a:solidFill>
                        </a:rPr>
                        <a:t>Всего сумма</a:t>
                      </a:r>
                      <a:endParaRPr lang="ru-RU" sz="15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>
                          <a:solidFill>
                            <a:schemeClr val="tx1"/>
                          </a:solidFill>
                        </a:rPr>
                        <a:t>В том числе</a:t>
                      </a:r>
                      <a:r>
                        <a:rPr lang="ru-RU" sz="1500" baseline="0" dirty="0" smtClean="0">
                          <a:solidFill>
                            <a:schemeClr val="tx1"/>
                          </a:solidFill>
                        </a:rPr>
                        <a:t> з</a:t>
                      </a:r>
                      <a:r>
                        <a:rPr lang="ru-RU" sz="1500" dirty="0" smtClean="0">
                          <a:solidFill>
                            <a:schemeClr val="tx1"/>
                          </a:solidFill>
                        </a:rPr>
                        <a:t>а счет местных средств</a:t>
                      </a:r>
                      <a:endParaRPr lang="ru-RU" sz="15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36000" marT="36000" marB="3600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  <a:tr h="78264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Организация бесплатного горячего питания обучающихся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25,1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1,3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74851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Приобретение музыкальных инструментов</a:t>
                      </a:r>
                    </a:p>
                  </a:txBody>
                  <a:tcPr marL="7620" marR="7620" marT="7620" marB="0" anchor="ctr">
                    <a:solidFill>
                      <a:srgbClr val="4F9B4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3,7</a:t>
                      </a:r>
                    </a:p>
                  </a:txBody>
                  <a:tcPr marL="7620" marR="7620" marT="7620" marB="0" anchor="ctr">
                    <a:solidFill>
                      <a:srgbClr val="4F9B4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0,2</a:t>
                      </a:r>
                    </a:p>
                  </a:txBody>
                  <a:tcPr marL="7620" marR="7620" marT="7620" marB="0" anchor="ctr">
                    <a:solidFill>
                      <a:srgbClr val="4F9B43"/>
                    </a:solidFill>
                  </a:tcPr>
                </a:tc>
              </a:tr>
              <a:tr h="39767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Приобретение жилья молодым семьям 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47,3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2,4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668211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Комплектование книжных фондов </a:t>
                      </a:r>
                    </a:p>
                  </a:txBody>
                  <a:tcPr marL="7620" marR="7620" marT="7620" marB="0" anchor="ctr">
                    <a:solidFill>
                      <a:srgbClr val="4F9B4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0,1</a:t>
                      </a:r>
                    </a:p>
                  </a:txBody>
                  <a:tcPr marL="7620" marR="7620" marT="7620" marB="0" anchor="ctr">
                    <a:solidFill>
                      <a:srgbClr val="4F9B4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0,01</a:t>
                      </a:r>
                    </a:p>
                  </a:txBody>
                  <a:tcPr marL="7620" marR="7620" marT="7620" marB="0" anchor="ctr">
                    <a:solidFill>
                      <a:srgbClr val="4F9B43"/>
                    </a:solidFill>
                  </a:tcPr>
                </a:tc>
              </a:tr>
              <a:tr h="676555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Ликвидация несанкционированных свалок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224,3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2,3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1083665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Проведение антитеррористических мероприятий в образовательных организациях</a:t>
                      </a:r>
                    </a:p>
                  </a:txBody>
                  <a:tcPr marL="7620" marR="7620" marT="7620" marB="0" anchor="ctr">
                    <a:solidFill>
                      <a:srgbClr val="4F9B4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2,6</a:t>
                      </a:r>
                    </a:p>
                  </a:txBody>
                  <a:tcPr marL="7620" marR="7620" marT="7620" marB="0" anchor="ctr">
                    <a:solidFill>
                      <a:srgbClr val="4F9B4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0,1</a:t>
                      </a:r>
                    </a:p>
                  </a:txBody>
                  <a:tcPr marL="7620" marR="7620" marT="7620" marB="0" anchor="ctr">
                    <a:solidFill>
                      <a:srgbClr val="4F9B43"/>
                    </a:solidFill>
                  </a:tcPr>
                </a:tc>
              </a:tr>
              <a:tr h="42908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Профилактика терроризма 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0,1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0,01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559482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Формирование современной городской среды</a:t>
                      </a:r>
                    </a:p>
                  </a:txBody>
                  <a:tcPr marL="7620" marR="7620" marT="7620" marB="0" anchor="ctr">
                    <a:solidFill>
                      <a:srgbClr val="4F9B4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127,9</a:t>
                      </a:r>
                    </a:p>
                  </a:txBody>
                  <a:tcPr marL="7620" marR="7620" marT="7620" marB="0" anchor="ctr">
                    <a:solidFill>
                      <a:srgbClr val="4F9B4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0,1</a:t>
                      </a:r>
                    </a:p>
                  </a:txBody>
                  <a:tcPr marL="7620" marR="7620" marT="7620" marB="0" anchor="ctr">
                    <a:solidFill>
                      <a:srgbClr val="4F9B43"/>
                    </a:solidFill>
                  </a:tcPr>
                </a:tc>
              </a:tr>
              <a:tr h="559482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Итого: </a:t>
                      </a:r>
                    </a:p>
                  </a:txBody>
                  <a:tcPr marL="7620" marR="7620" marT="762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31,1</a:t>
                      </a:r>
                    </a:p>
                  </a:txBody>
                  <a:tcPr marL="7620" marR="7620" marT="762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6,4</a:t>
                      </a:r>
                    </a:p>
                  </a:txBody>
                  <a:tcPr marL="7620" marR="7620" marT="762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кругленный прямоугольник 3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indent="444500" algn="just" eaLnBrk="1" hangingPunct="1">
              <a:defRPr/>
            </a:pPr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бюджета города-курорта Железноводска Ставропольского края в 2022 году</a:t>
            </a:r>
          </a:p>
          <a:p>
            <a:pPr indent="444500" algn="just" eaLnBrk="1" hangingPunct="1">
              <a:defRPr/>
            </a:pPr>
            <a:endParaRPr lang="ru-RU" sz="18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 eaLnBrk="1" hangingPunct="1">
              <a:defRPr/>
            </a:pPr>
            <a:r>
              <a:rPr lang="ru-RU" sz="1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лассифицируются по:</a:t>
            </a:r>
          </a:p>
          <a:p>
            <a:pPr indent="444500" algn="just" eaLnBrk="1" hangingPunct="1">
              <a:defRPr/>
            </a:pPr>
            <a:endParaRPr lang="ru-RU" sz="18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 eaLnBrk="1" hangingPunct="1">
              <a:buFont typeface="Wingdings" pitchFamily="2" charset="2"/>
              <a:buChar char="v"/>
              <a:defRPr/>
            </a:pPr>
            <a:r>
              <a:rPr lang="ru-RU" sz="1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2-ти разделам бюджетной классификации;</a:t>
            </a:r>
          </a:p>
          <a:p>
            <a:pPr indent="444500" algn="just" eaLnBrk="1" hangingPunct="1">
              <a:buFont typeface="Wingdings" pitchFamily="2" charset="2"/>
              <a:buChar char="v"/>
              <a:defRPr/>
            </a:pPr>
            <a:r>
              <a:rPr lang="ru-RU" sz="1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1-ти главным распорядителям бюджетных средств;</a:t>
            </a:r>
          </a:p>
          <a:p>
            <a:pPr indent="444500" algn="just" eaLnBrk="1" hangingPunct="1">
              <a:buFont typeface="Wingdings" pitchFamily="2" charset="2"/>
              <a:buChar char="v"/>
              <a:defRPr/>
            </a:pPr>
            <a:r>
              <a:rPr lang="ru-RU" sz="1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4-ти муниципальным программам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бюджета города-курорта Железноводска в разрезе разделов деятельности на 2022 год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7170" name="Object 5"/>
          <p:cNvGraphicFramePr>
            <a:graphicFrameLocks noChangeAspect="1"/>
          </p:cNvGraphicFramePr>
          <p:nvPr/>
        </p:nvGraphicFramePr>
        <p:xfrm>
          <a:off x="1" y="1809750"/>
          <a:ext cx="7215213" cy="7567613"/>
        </p:xfrm>
        <a:graphic>
          <a:graphicData uri="http://schemas.openxmlformats.org/presentationml/2006/ole">
            <p:oleObj spid="_x0000_s7170" name="Worksheet" r:id="rId3" imgW="4396684" imgH="3802464" progId="Excel.Shee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928670" y="523844"/>
            <a:ext cx="5518586" cy="8715436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indent="450850" algn="just">
              <a:lnSpc>
                <a:spcPts val="2880"/>
              </a:lnSpc>
              <a:defRPr/>
            </a:pPr>
            <a:endParaRPr lang="ru-RU" sz="1200" b="1" i="1" kern="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ru-RU" sz="1200" b="1" dirty="0">
              <a:solidFill>
                <a:schemeClr val="tx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3</a:t>
            </a:fld>
            <a:endParaRPr lang="ru-RU" dirty="0"/>
          </a:p>
        </p:txBody>
      </p:sp>
      <p:pic>
        <p:nvPicPr>
          <p:cNvPr id="81922" name="Picture 2" descr="https://stv24.tv/wp-content/uploads/2020/04/30/4b4943c2-73aa-4ecd-a749-b5869efbf0fc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00108" y="380967"/>
            <a:ext cx="5357850" cy="3687707"/>
          </a:xfrm>
          <a:prstGeom prst="rect">
            <a:avLst/>
          </a:prstGeom>
          <a:noFill/>
        </p:spPr>
      </p:pic>
      <p:pic>
        <p:nvPicPr>
          <p:cNvPr id="2" name="Picture 2" descr="https://sevkavportal.ru/media/k2/items/cache/f284d236d892725c37659398ed7f1a4e_XL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43314" y="5953132"/>
            <a:ext cx="2714644" cy="3620656"/>
          </a:xfrm>
          <a:prstGeom prst="rect">
            <a:avLst/>
          </a:prstGeom>
          <a:noFill/>
        </p:spPr>
      </p:pic>
      <p:pic>
        <p:nvPicPr>
          <p:cNvPr id="55298" name="Picture 2" descr="https://zheleznovodsk.sutochno.ru/doc/images/galleries/180/zhelezno3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324491" y="4024306"/>
            <a:ext cx="3033467" cy="2039745"/>
          </a:xfrm>
          <a:prstGeom prst="rect">
            <a:avLst/>
          </a:prstGeom>
          <a:noFill/>
        </p:spPr>
      </p:pic>
      <p:pic>
        <p:nvPicPr>
          <p:cNvPr id="5" name="Picture 2" descr="В Курортном озере Железноводска замечена гигантская черепаха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000109" y="5905592"/>
            <a:ext cx="2765644" cy="3690878"/>
          </a:xfrm>
          <a:prstGeom prst="rect">
            <a:avLst/>
          </a:prstGeom>
          <a:noFill/>
        </p:spPr>
      </p:pic>
      <p:pic>
        <p:nvPicPr>
          <p:cNvPr id="3" name="Picture 2" descr="https://zheleznovodsk.sutochno.ru/doc/images/galleries/180/zhelezno2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83722" y="4024306"/>
            <a:ext cx="2938117" cy="197563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бюджета города-курорта Железноводска в разрезе разделов деятельности на 2023 год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8195" name="Object 5"/>
          <p:cNvGraphicFramePr>
            <a:graphicFrameLocks noChangeAspect="1"/>
          </p:cNvGraphicFramePr>
          <p:nvPr/>
        </p:nvGraphicFramePr>
        <p:xfrm>
          <a:off x="55563" y="2314575"/>
          <a:ext cx="6659585" cy="6997700"/>
        </p:xfrm>
        <a:graphic>
          <a:graphicData uri="http://schemas.openxmlformats.org/presentationml/2006/ole">
            <p:oleObj spid="_x0000_s8195" name="Worksheet" r:id="rId3" imgW="4511004" imgH="3687984" progId="Excel.Shee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бюджета города-курорта Железноводска в разрезе разделов деятельности на 2024 год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9219" name="Object 5"/>
          <p:cNvGraphicFramePr>
            <a:graphicFrameLocks noChangeAspect="1"/>
          </p:cNvGraphicFramePr>
          <p:nvPr/>
        </p:nvGraphicFramePr>
        <p:xfrm>
          <a:off x="-568325" y="1881166"/>
          <a:ext cx="7926415" cy="7207272"/>
        </p:xfrm>
        <a:graphic>
          <a:graphicData uri="http://schemas.openxmlformats.org/presentationml/2006/ole">
            <p:oleObj spid="_x0000_s9219" name="Worksheet" r:id="rId3" imgW="4282363" imgH="3238488" progId="Excel.Shee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здел «Образование»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 городе-курорте Железноводске Ставропольского края осуществляют свою деятельность 29 муниципальных образовательных учреждений, в том числе: 15 дошкольных образовательных учреждений, 5 учреждений дополнительного образования детей, 9 общеобразовательных учреждений.</a:t>
            </a: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величение расходов по отрасли связано  с выделением дополнительных средств на реализацию Указов Президента Российской Федерации, направленных на повышение оплаты труда педагогическим работникам образовательных организаций в целях достижения показателей средней заработной платы, установленных «дорожной картой» в соответствии с распоряжением Правительства Ставропольского края от 01 марта 2013 года № 52-рп; повышение минимального размера оплаты труда; на повышение оплаты труда категорий работников бюджетной сферы, которые не попадают под действие указов Президента Российской Федерации; а также  на строительство новой муниципальной общеобразовательной школы в жилом районе Капельница в 2023 году планируется  направить 266.5 млн. руб., в 2024 году 399,8 млн. руб.</a:t>
            </a: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здел «Образование»</a:t>
            </a: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1266" name="Object 12"/>
          <p:cNvGraphicFramePr>
            <a:graphicFrameLocks noGrp="1" noChangeAspect="1"/>
          </p:cNvGraphicFramePr>
          <p:nvPr/>
        </p:nvGraphicFramePr>
        <p:xfrm>
          <a:off x="285728" y="6167446"/>
          <a:ext cx="6858048" cy="3286148"/>
        </p:xfrm>
        <a:graphic>
          <a:graphicData uri="http://schemas.openxmlformats.org/presentationml/2006/ole">
            <p:oleObj spid="_x0000_s11266" name="Worksheet" r:id="rId3" imgW="4884436" imgH="2217456" progId="Excel.Sheet.8">
              <p:embed/>
            </p:oleObj>
          </a:graphicData>
        </a:graphic>
      </p:graphicFrame>
      <p:sp>
        <p:nvSpPr>
          <p:cNvPr id="7" name="Text Box 7"/>
          <p:cNvSpPr txBox="1">
            <a:spLocks noChangeArrowheads="1"/>
          </p:cNvSpPr>
          <p:nvPr/>
        </p:nvSpPr>
        <p:spPr bwMode="auto">
          <a:xfrm>
            <a:off x="4286256" y="5738818"/>
            <a:ext cx="129381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600" b="1" i="1" dirty="0"/>
              <a:t>млн. рублей</a:t>
            </a:r>
          </a:p>
        </p:txBody>
      </p:sp>
      <p:sp>
        <p:nvSpPr>
          <p:cNvPr id="9" name="Rectangle 1"/>
          <p:cNvSpPr>
            <a:spLocks noChangeArrowheads="1"/>
          </p:cNvSpPr>
          <p:nvPr/>
        </p:nvSpPr>
        <p:spPr bwMode="auto">
          <a:xfrm>
            <a:off x="788988" y="1381100"/>
            <a:ext cx="6069012" cy="3381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Структура расходов бюджета по образованию в 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2020-2024 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годах</a:t>
            </a:r>
            <a:endParaRPr lang="ru-RU" dirty="0">
              <a:solidFill>
                <a:schemeClr val="accent1">
                  <a:lumMod val="50000"/>
                </a:schemeClr>
              </a:solidFill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/>
        </p:nvGraphicFramePr>
        <p:xfrm>
          <a:off x="1000108" y="1952604"/>
          <a:ext cx="5429288" cy="3189250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500067"/>
                <a:gridCol w="1142983"/>
                <a:gridCol w="714380"/>
                <a:gridCol w="642966"/>
                <a:gridCol w="714380"/>
                <a:gridCol w="857256"/>
                <a:gridCol w="857256"/>
              </a:tblGrid>
              <a:tr h="50006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дел, подраздел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ы финансового обеспечения по годам (млн. рублей)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0797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д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 (факт)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(оценка)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проект)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(проект)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(проект)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</a:tr>
              <a:tr h="26668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7 00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разование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646,1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01,40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620,2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852,0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977,34</a:t>
                      </a:r>
                    </a:p>
                  </a:txBody>
                  <a:tcPr marL="7620" marR="7620" marT="7620" marB="0" anchor="ctr"/>
                </a:tc>
              </a:tr>
              <a:tr h="30167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7 01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школьное образование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20,1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59,08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259,2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247,7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244,09</a:t>
                      </a:r>
                    </a:p>
                  </a:txBody>
                  <a:tcPr marL="7620" marR="7620" marT="7620" marB="0" anchor="ctr"/>
                </a:tc>
              </a:tr>
              <a:tr h="29051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7 02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щее образование</a:t>
                      </a:r>
                      <a:endParaRPr kumimoji="0" lang="ru-RU" sz="1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45,4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67,28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276,3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531,7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662,70</a:t>
                      </a:r>
                    </a:p>
                  </a:txBody>
                  <a:tcPr marL="7620" marR="7620" marT="7620" marB="0" anchor="ctr"/>
                </a:tc>
              </a:tr>
              <a:tr h="4953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7 03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полнительное образование детей</a:t>
                      </a:r>
                      <a:endParaRPr kumimoji="0" lang="ru-RU" sz="1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69,3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9,44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67,5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56,6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55,07</a:t>
                      </a:r>
                    </a:p>
                  </a:txBody>
                  <a:tcPr marL="7620" marR="7620" marT="7620" marB="0" anchor="ctr"/>
                </a:tc>
              </a:tr>
              <a:tr h="29051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7 07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олодежная политика</a:t>
                      </a:r>
                      <a:endParaRPr kumimoji="0" lang="ru-RU" sz="1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8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,87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5,5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5,4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5,38</a:t>
                      </a:r>
                    </a:p>
                  </a:txBody>
                  <a:tcPr marL="7620" marR="7620" marT="7620" marB="0" anchor="ctr"/>
                </a:tc>
              </a:tr>
              <a:tr h="5048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7 09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ругие вопросы в области образования</a:t>
                      </a:r>
                      <a:endParaRPr kumimoji="0" lang="ru-RU" sz="1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0,4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,73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11,50</a:t>
                      </a:r>
                      <a:endParaRPr lang="ru-RU" sz="11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10,4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10,10</a:t>
                      </a:r>
                    </a:p>
                  </a:txBody>
                  <a:tcPr marL="7620" marR="7620" marT="7620" marB="0" anchor="ctr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на Образование в расчете на 1 жителя города-курорта Железноводска Ставропольского края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школьное образование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r>
              <a:rPr lang="ru-RU" sz="1400" dirty="0" smtClean="0">
                <a:solidFill>
                  <a:schemeClr val="tx1"/>
                </a:solidFill>
              </a:rPr>
              <a:t>В городе-курорте Железноводске Ставропольского края действует 15 дошкольных образовательных учреждений - детских садов, в которых обучается 2 696 детей.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Text Box 7"/>
          <p:cNvSpPr txBox="1">
            <a:spLocks noChangeArrowheads="1"/>
          </p:cNvSpPr>
          <p:nvPr/>
        </p:nvSpPr>
        <p:spPr bwMode="auto">
          <a:xfrm>
            <a:off x="5564187" y="1595414"/>
            <a:ext cx="1293813" cy="27699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800" b="1" i="1" dirty="0" smtClean="0"/>
              <a:t>тыс. </a:t>
            </a:r>
            <a:r>
              <a:rPr lang="ru-RU" sz="1800" b="1" i="1" dirty="0"/>
              <a:t>рублей</a:t>
            </a:r>
          </a:p>
        </p:txBody>
      </p:sp>
      <p:graphicFrame>
        <p:nvGraphicFramePr>
          <p:cNvPr id="12" name="Object 3"/>
          <p:cNvGraphicFramePr>
            <a:graphicFrameLocks noGrp="1" noChangeAspect="1"/>
          </p:cNvGraphicFramePr>
          <p:nvPr/>
        </p:nvGraphicFramePr>
        <p:xfrm>
          <a:off x="207963" y="2382838"/>
          <a:ext cx="6359525" cy="1828800"/>
        </p:xfrm>
        <a:graphic>
          <a:graphicData uri="http://schemas.openxmlformats.org/presentationml/2006/ole">
            <p:oleObj spid="_x0000_s12291" name="Worksheet" r:id="rId3" imgW="5928446" imgH="1706832" progId="Excel.Shee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щее и дополнительное образование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285728" y="1881166"/>
          <a:ext cx="6429396" cy="3364595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1404121"/>
                <a:gridCol w="682353"/>
                <a:gridCol w="740263"/>
                <a:gridCol w="720541"/>
                <a:gridCol w="942215"/>
                <a:gridCol w="989042"/>
                <a:gridCol w="950861"/>
              </a:tblGrid>
              <a:tr h="109118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300" u="none" strike="noStrike" cap="none" normalizeH="0" baseline="0" dirty="0" smtClean="0">
                        <a:ln>
                          <a:noFill/>
                        </a:ln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учреждений общего и дополнительного образования в городе-курорте Железноводске Ставропольского края</a:t>
                      </a:r>
                      <a:endParaRPr kumimoji="0" lang="ru-RU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300" u="none" strike="noStrike" cap="none" normalizeH="0" baseline="0" dirty="0" smtClean="0">
                        <a:ln>
                          <a:noFill/>
                        </a:ln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учащихся учреждений общего и дополнительного образования в городе-курорте Железноводске Ставропольского края</a:t>
                      </a:r>
                      <a:endParaRPr kumimoji="0" lang="ru-RU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8341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rgbClr val="21212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</a:t>
                      </a:r>
                      <a:r>
                        <a:rPr kumimoji="0" lang="en-US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</a:t>
                      </a: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/</a:t>
                      </a:r>
                      <a:endParaRPr kumimoji="0" lang="en-US" sz="1400" u="none" strike="noStrike" cap="none" normalizeH="0" baseline="0" dirty="0" smtClean="0">
                        <a:ln>
                          <a:noFill/>
                        </a:ln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</a:t>
                      </a:r>
                      <a:r>
                        <a:rPr kumimoji="0" lang="en-US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</a:t>
                      </a: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учебный год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</a:t>
                      </a:r>
                      <a:r>
                        <a:rPr kumimoji="0" lang="en-US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</a:t>
                      </a: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/</a:t>
                      </a:r>
                      <a:endParaRPr kumimoji="0" lang="en-US" sz="1400" u="none" strike="noStrike" cap="none" normalizeH="0" baseline="0" dirty="0" smtClean="0">
                        <a:ln>
                          <a:noFill/>
                        </a:ln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</a:t>
                      </a:r>
                      <a:r>
                        <a:rPr kumimoji="0" lang="en-US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учебный год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</a:t>
                      </a:r>
                      <a:r>
                        <a:rPr kumimoji="0" lang="en-US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/</a:t>
                      </a:r>
                      <a:endParaRPr kumimoji="0" lang="en-US" sz="1400" u="none" strike="noStrike" cap="none" normalizeH="0" baseline="0" dirty="0" smtClean="0">
                        <a:ln>
                          <a:noFill/>
                        </a:ln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</a:t>
                      </a:r>
                      <a:r>
                        <a:rPr kumimoji="0" lang="en-US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чебный год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</a:t>
                      </a:r>
                      <a:r>
                        <a:rPr kumimoji="0" lang="en-US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</a:t>
                      </a: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/</a:t>
                      </a:r>
                      <a:endParaRPr kumimoji="0" lang="en-US" sz="1400" u="none" strike="noStrike" cap="none" normalizeH="0" baseline="0" dirty="0" smtClean="0">
                        <a:ln>
                          <a:noFill/>
                        </a:ln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</a:t>
                      </a:r>
                      <a:r>
                        <a:rPr kumimoji="0" lang="en-US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</a:t>
                      </a: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учебный год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</a:t>
                      </a:r>
                      <a:r>
                        <a:rPr kumimoji="0" lang="en-US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</a:t>
                      </a: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/</a:t>
                      </a:r>
                      <a:endParaRPr kumimoji="0" lang="en-US" sz="1400" u="none" strike="noStrike" cap="none" normalizeH="0" baseline="0" dirty="0" smtClean="0">
                        <a:ln>
                          <a:noFill/>
                        </a:ln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</a:t>
                      </a:r>
                      <a:r>
                        <a:rPr kumimoji="0" lang="en-US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учебный год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</a:t>
                      </a:r>
                      <a:r>
                        <a:rPr kumimoji="0" lang="en-US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/</a:t>
                      </a:r>
                      <a:endParaRPr kumimoji="0" lang="en-US" sz="1400" u="none" strike="noStrike" cap="none" normalizeH="0" baseline="0" dirty="0" smtClean="0">
                        <a:ln>
                          <a:noFill/>
                        </a:ln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</a:t>
                      </a:r>
                      <a:r>
                        <a:rPr kumimoji="0" lang="en-US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чебный год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</a:tr>
              <a:tr h="43589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щеобразователь-ные школы</a:t>
                      </a:r>
                      <a:endParaRPr kumimoji="0" lang="ru-RU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 117 чел.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 262 чел.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 </a:t>
                      </a:r>
                      <a:r>
                        <a:rPr kumimoji="0" lang="en-US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67</a:t>
                      </a: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чел.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</a:tr>
              <a:tr h="65383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чреждения дополнительного образования</a:t>
                      </a:r>
                      <a:endParaRPr kumimoji="0" lang="ru-RU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 283 чел.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 </a:t>
                      </a:r>
                      <a:r>
                        <a:rPr kumimoji="0" lang="en-US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0</a:t>
                      </a: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чел.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 1</a:t>
                      </a:r>
                      <a:r>
                        <a:rPr kumimoji="0" lang="en-US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3</a:t>
                      </a: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чел.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</a:tr>
              <a:tr h="23270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СЕГО</a:t>
                      </a:r>
                      <a:endParaRPr kumimoji="0" lang="ru-RU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kumimoji="0" lang="ru-RU" sz="13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 </a:t>
                      </a: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00 </a:t>
                      </a:r>
                      <a:r>
                        <a:rPr kumimoji="0" lang="ru-RU" sz="11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.</a:t>
                      </a:r>
                      <a:endParaRPr kumimoji="0" lang="ru-RU" sz="1100" b="1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kumimoji="0" lang="ru-RU" sz="13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 </a:t>
                      </a:r>
                      <a:r>
                        <a:rPr kumimoji="0" lang="en-US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62</a:t>
                      </a: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ru-RU" sz="11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.</a:t>
                      </a:r>
                      <a:endParaRPr kumimoji="0" lang="ru-RU" sz="1100" b="1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kumimoji="0" lang="ru-RU" sz="13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 </a:t>
                      </a:r>
                      <a:r>
                        <a:rPr kumimoji="0" lang="en-US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90</a:t>
                      </a: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ru-RU" sz="11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.</a:t>
                      </a:r>
                      <a:endParaRPr kumimoji="0" lang="ru-RU" sz="1100" b="1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525" marR="9525" marT="9525" marB="0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здел «Культура»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еть отрасли культуры и кинематографии в городе-курорте Железноводске Ставропольского края составляют 3 муниципальных учреждения, в том числе: библиотечная централизованная система, Пушкинская галерея, Городской Дворец культуры.</a:t>
            </a: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714356" y="3473459"/>
          <a:ext cx="5786478" cy="2836863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642942"/>
                <a:gridCol w="1142980"/>
                <a:gridCol w="785846"/>
                <a:gridCol w="714380"/>
                <a:gridCol w="857256"/>
                <a:gridCol w="785818"/>
                <a:gridCol w="857256"/>
              </a:tblGrid>
              <a:tr h="49530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дел, подраздел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ы финансового обеспечения по годам (млн. рублей)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413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д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 (факт)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(оценка)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(проект)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(проект)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(проект)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</a:tr>
              <a:tr h="4953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8 00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ультура, кинематография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46,0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9,34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59,6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47,5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45,95</a:t>
                      </a:r>
                    </a:p>
                  </a:txBody>
                  <a:tcPr marL="7620" marR="7620" marT="7620" marB="0" anchor="ctr"/>
                </a:tc>
              </a:tr>
              <a:tr h="4953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8 01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ультура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0,5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2,86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53,6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41,9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40,58</a:t>
                      </a:r>
                    </a:p>
                  </a:txBody>
                  <a:tcPr marL="7620" marR="7620" marT="7620" marB="0" anchor="ctr"/>
                </a:tc>
              </a:tr>
              <a:tr h="4953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8 04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ругие вопросы в области культуры, кинематографии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5,4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,48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5,9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5,5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5,37</a:t>
                      </a:r>
                    </a:p>
                  </a:txBody>
                  <a:tcPr marL="7620" marR="7620" marT="7620" marB="0" anchor="ctr"/>
                </a:tc>
              </a:tr>
            </a:tbl>
          </a:graphicData>
        </a:graphic>
      </p:graphicFrame>
      <p:sp>
        <p:nvSpPr>
          <p:cNvPr id="7" name="Rectangle 1"/>
          <p:cNvSpPr>
            <a:spLocks noChangeArrowheads="1"/>
          </p:cNvSpPr>
          <p:nvPr/>
        </p:nvSpPr>
        <p:spPr bwMode="auto">
          <a:xfrm>
            <a:off x="1065066" y="2825040"/>
            <a:ext cx="5007140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ru-RU" sz="1400" b="1" dirty="0">
                <a:solidFill>
                  <a:schemeClr val="tx2">
                    <a:lumMod val="50000"/>
                  </a:schemeClr>
                </a:solidFill>
                <a:cs typeface="Times New Roman" pitchFamily="18" charset="0"/>
              </a:rPr>
              <a:t>Структура расходов бюджета по культуре в </a:t>
            </a:r>
            <a:r>
              <a:rPr lang="ru-RU" sz="1400" b="1" dirty="0" smtClean="0">
                <a:solidFill>
                  <a:schemeClr val="tx2">
                    <a:lumMod val="50000"/>
                  </a:schemeClr>
                </a:solidFill>
                <a:cs typeface="Times New Roman" pitchFamily="18" charset="0"/>
              </a:rPr>
              <a:t>2020-2024 </a:t>
            </a:r>
            <a:r>
              <a:rPr lang="ru-RU" sz="1400" b="1" dirty="0">
                <a:solidFill>
                  <a:schemeClr val="tx2">
                    <a:lumMod val="50000"/>
                  </a:schemeClr>
                </a:solidFill>
                <a:cs typeface="Times New Roman" pitchFamily="18" charset="0"/>
              </a:rPr>
              <a:t>годах</a:t>
            </a:r>
            <a:endParaRPr lang="ru-RU" sz="1400" dirty="0">
              <a:solidFill>
                <a:schemeClr val="tx2">
                  <a:lumMod val="50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здел «Культура»</a:t>
            </a:r>
          </a:p>
          <a:p>
            <a:pPr algn="ctr" eaLnBrk="1" hangingPunct="1">
              <a:defRPr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82550" lvl="1" indent="374650" algn="just"/>
            <a:r>
              <a:rPr lang="ru-RU" sz="1600" dirty="0" smtClean="0">
                <a:solidFill>
                  <a:schemeClr val="tx1"/>
                </a:solidFill>
              </a:rPr>
              <a:t>Увеличение объема расходов в 2022 связано с увеличением в 2022 году расходов на заработную плату работников муниципальных учреждений культуры, подпадающих под действие майских указов Президента Российской Федерации, исходя из значения среднемесячного дохода от трудовой деятельности в 2021 году, а так же в связи с индексацией  с 01 октября 2021 года на 3,6 процента.</a:t>
            </a:r>
            <a:endParaRPr lang="ru-RU" sz="1600" b="1" dirty="0" smtClean="0">
              <a:solidFill>
                <a:schemeClr val="tx1"/>
              </a:solidFill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4338" name="Object 12"/>
          <p:cNvGraphicFramePr>
            <a:graphicFrameLocks noGrp="1" noChangeAspect="1"/>
          </p:cNvGraphicFramePr>
          <p:nvPr/>
        </p:nvGraphicFramePr>
        <p:xfrm>
          <a:off x="319089" y="4876800"/>
          <a:ext cx="6538912" cy="3505224"/>
        </p:xfrm>
        <a:graphic>
          <a:graphicData uri="http://schemas.openxmlformats.org/presentationml/2006/ole">
            <p:oleObj spid="_x0000_s14338" name="Worksheet" r:id="rId3" imgW="7078996" imgH="3208032" progId="Excel.Sheet.8">
              <p:embed/>
            </p:oleObj>
          </a:graphicData>
        </a:graphic>
      </p:graphicFrame>
      <p:sp>
        <p:nvSpPr>
          <p:cNvPr id="9" name="Text Box 7"/>
          <p:cNvSpPr txBox="1">
            <a:spLocks noChangeArrowheads="1"/>
          </p:cNvSpPr>
          <p:nvPr/>
        </p:nvSpPr>
        <p:spPr bwMode="auto">
          <a:xfrm>
            <a:off x="4357694" y="4953000"/>
            <a:ext cx="1293813" cy="244475"/>
          </a:xfrm>
          <a:prstGeom prst="rect">
            <a:avLst/>
          </a:prstGeom>
          <a:solidFill>
            <a:schemeClr val="bg1">
              <a:alpha val="49000"/>
            </a:schemeClr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1600" b="1" i="1" dirty="0"/>
              <a:t>млн. рублей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на Культуру в расчете на 1 жителя города-курорта Железноводска Ставропольского края</a:t>
            </a:r>
          </a:p>
          <a:p>
            <a:pPr algn="ctr" eaLnBrk="1" hangingPunct="1">
              <a:defRPr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5363" name="Object 3"/>
          <p:cNvGraphicFramePr>
            <a:graphicFrameLocks noGrp="1" noChangeAspect="1"/>
          </p:cNvGraphicFramePr>
          <p:nvPr/>
        </p:nvGraphicFramePr>
        <p:xfrm>
          <a:off x="319089" y="2738422"/>
          <a:ext cx="6538912" cy="2357454"/>
        </p:xfrm>
        <a:graphic>
          <a:graphicData uri="http://schemas.openxmlformats.org/presentationml/2006/ole">
            <p:oleObj spid="_x0000_s15363" name="Worksheet" r:id="rId3" imgW="7078996" imgH="1897344" progId="Excel.Sheet.8">
              <p:embed/>
            </p:oleObj>
          </a:graphicData>
        </a:graphic>
      </p:graphicFrame>
      <p:sp>
        <p:nvSpPr>
          <p:cNvPr id="7" name="Text Box 7"/>
          <p:cNvSpPr txBox="1">
            <a:spLocks noChangeArrowheads="1"/>
          </p:cNvSpPr>
          <p:nvPr/>
        </p:nvSpPr>
        <p:spPr bwMode="auto">
          <a:xfrm>
            <a:off x="4714884" y="2166918"/>
            <a:ext cx="1293813" cy="276999"/>
          </a:xfrm>
          <a:prstGeom prst="rect">
            <a:avLst/>
          </a:prstGeom>
          <a:solidFill>
            <a:schemeClr val="bg1">
              <a:alpha val="48000"/>
            </a:schemeClr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1800" b="1" i="1" dirty="0" smtClean="0"/>
              <a:t>тыс.рублей</a:t>
            </a:r>
            <a:endParaRPr lang="ru-RU" sz="1800" b="1" i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здел «Социальная политика»</a:t>
            </a:r>
          </a:p>
          <a:p>
            <a:pPr algn="ctr" eaLnBrk="1" hangingPunct="1">
              <a:defRPr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227274" y="1381100"/>
            <a:ext cx="6630726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Структура расходов бюджета города по социальной политике в 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2020-2024 </a:t>
            </a: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годах</a:t>
            </a:r>
            <a:endParaRPr lang="ru-RU" sz="1400" dirty="0">
              <a:solidFill>
                <a:schemeClr val="accent1">
                  <a:lumMod val="50000"/>
                </a:schemeClr>
              </a:solidFill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928670" y="1952604"/>
          <a:ext cx="5500726" cy="3747514"/>
        </p:xfrm>
        <a:graphic>
          <a:graphicData uri="http://schemas.openxmlformats.org/drawingml/2006/table">
            <a:tbl>
              <a:tblPr>
                <a:tableStyleId>{69C7853C-536D-4A76-A0AE-DD22124D55A5}</a:tableStyleId>
              </a:tblPr>
              <a:tblGrid>
                <a:gridCol w="621508"/>
                <a:gridCol w="1212080"/>
                <a:gridCol w="738180"/>
                <a:gridCol w="714380"/>
                <a:gridCol w="785818"/>
                <a:gridCol w="642942"/>
                <a:gridCol w="785818"/>
              </a:tblGrid>
              <a:tr h="543514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дел, подраздел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ы финансового обеспечения по годам (млн. рублей)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9791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д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факт)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оценка)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(проект)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(проект)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(проект)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</a:tr>
              <a:tr h="49128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 00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циальная политика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61,9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78,46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534,2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507,3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525,92</a:t>
                      </a:r>
                    </a:p>
                  </a:txBody>
                  <a:tcPr marL="7620" marR="7620" marT="7620" marB="0" anchor="ctr"/>
                </a:tc>
              </a:tr>
              <a:tr h="59791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 03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циальное обеспечение населения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90,6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94,29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196,9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199,7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202,82</a:t>
                      </a:r>
                    </a:p>
                  </a:txBody>
                  <a:tcPr marL="7620" marR="7620" marT="7620" marB="0" anchor="ctr"/>
                </a:tc>
              </a:tr>
              <a:tr h="52036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 04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храна семьи и детства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53,7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66,46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318,9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289,9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305,47</a:t>
                      </a:r>
                    </a:p>
                  </a:txBody>
                  <a:tcPr marL="7620" marR="7620" marT="7620" marB="0" anchor="ctr"/>
                </a:tc>
              </a:tr>
              <a:tr h="99652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 06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ругие вопросы в области социальной политики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7,6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7,71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18,3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17,6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17,63</a:t>
                      </a:r>
                    </a:p>
                  </a:txBody>
                  <a:tcPr marL="7620" marR="7620" marT="7620" marB="0" anchor="ctr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Скругленный прямоугольник 8"/>
          <p:cNvSpPr/>
          <p:nvPr/>
        </p:nvSpPr>
        <p:spPr>
          <a:xfrm>
            <a:off x="857232" y="5524504"/>
            <a:ext cx="5715040" cy="3643338"/>
          </a:xfrm>
          <a:prstGeom prst="roundRect">
            <a:avLst/>
          </a:prstGeom>
          <a:ln w="762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b"/>
          <a:lstStyle/>
          <a:p>
            <a:pPr marL="87313" lvl="1" algn="ctr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ЮДЖЕТ</a:t>
            </a:r>
            <a:endParaRPr lang="ru-RU" sz="1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642918" y="380968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ПОНЯТИЯ</a:t>
            </a:r>
          </a:p>
          <a:p>
            <a:pPr algn="ctr">
              <a:lnSpc>
                <a:spcPct val="150000"/>
              </a:lnSpc>
              <a:defRPr/>
            </a:pPr>
            <a:endParaRPr lang="ru-RU" sz="28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     </a:t>
            </a:r>
            <a:r>
              <a:rPr lang="ru-RU" sz="1400" b="1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юджет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форма образования и расходования денежных средств, предназначенных для финансового обеспечения задач и функций государства и местного самоуправления;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400" b="1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ходы бюджета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поступающие в бюджет денежные средства, за исключением средств, являющихся в соответствии с Бюджетным кодексом источниками финансирования дефицита бюджета;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400" b="1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бюджета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выплачиваемые из бюджета денежные средства, за исключением средств, являющихся в соответствии с Бюджетным кодексом источниками финансирования дефицита бюджета;</a:t>
            </a:r>
          </a:p>
          <a:p>
            <a:pPr algn="just">
              <a:spcBef>
                <a:spcPts val="0"/>
              </a:spcBef>
              <a:buClr>
                <a:srgbClr val="ED520D"/>
              </a:buClr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spcBef>
                <a:spcPts val="0"/>
              </a:spcBef>
              <a:buClr>
                <a:srgbClr val="ED520D"/>
              </a:buClr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ru-RU" sz="2800" b="1" dirty="0">
              <a:solidFill>
                <a:schemeClr val="tx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1000108" y="5881694"/>
            <a:ext cx="3214710" cy="1262082"/>
          </a:xfrm>
          <a:prstGeom prst="roundRect">
            <a:avLst/>
          </a:prstGeom>
          <a:noFill/>
          <a:ln w="76200"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marL="87313" lvl="1" algn="ctr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ХОДЫ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1000107" y="7453330"/>
            <a:ext cx="5357829" cy="1000108"/>
          </a:xfrm>
          <a:prstGeom prst="roundRect">
            <a:avLst/>
          </a:prstGeom>
          <a:noFill/>
          <a:ln w="76200"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marL="87313" lvl="1" algn="ctr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4357693" y="5881694"/>
            <a:ext cx="2000243" cy="1285872"/>
          </a:xfrm>
          <a:prstGeom prst="roundRect">
            <a:avLst/>
          </a:prstGeom>
          <a:noFill/>
          <a:ln w="76200"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СТОЧНИКИ</a:t>
            </a:r>
            <a:r>
              <a:rPr lang="ru-RU" sz="16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финансирования дефицита бюджета</a:t>
            </a:r>
            <a:endParaRPr lang="ru-RU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Номер слайда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4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здел «Социальная политика»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увеличены в 2022 году в связи с  добавлением новых видов социальной поддержки граждан, в том числе: субвенция на осуществление ежемесячных выплат на детей в возрасте от 3 до 7 лет включительно субвенция на ежемесячную денежную выплату, назначаемую в случае рождения третьего ребенка или последующих детей до достижения ребенком возраста трех лет а так же на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 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ежемесячную выплату в связи с рождением (усыновлением) первого ребенка.</a:t>
            </a: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3250" name="Object 12"/>
          <p:cNvGraphicFramePr>
            <a:graphicFrameLocks noGrp="1" noChangeAspect="1"/>
          </p:cNvGraphicFramePr>
          <p:nvPr/>
        </p:nvGraphicFramePr>
        <p:xfrm>
          <a:off x="928688" y="4378325"/>
          <a:ext cx="7078662" cy="3795713"/>
        </p:xfrm>
        <a:graphic>
          <a:graphicData uri="http://schemas.openxmlformats.org/presentationml/2006/ole">
            <p:oleObj spid="_x0000_s53250" name="Worksheet" r:id="rId3" imgW="7078996" imgH="4015656" progId="Excel.Sheet.8">
              <p:embed/>
            </p:oleObj>
          </a:graphicData>
        </a:graphic>
      </p:graphicFrame>
      <p:sp>
        <p:nvSpPr>
          <p:cNvPr id="7" name="Text Box 7"/>
          <p:cNvSpPr txBox="1">
            <a:spLocks noChangeArrowheads="1"/>
          </p:cNvSpPr>
          <p:nvPr/>
        </p:nvSpPr>
        <p:spPr bwMode="auto">
          <a:xfrm>
            <a:off x="4929198" y="4024306"/>
            <a:ext cx="1293812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600" b="1" i="1" dirty="0"/>
              <a:t>млн. рублей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defRPr/>
            </a:pPr>
            <a:r>
              <a:rPr lang="ru-RU" b="1" dirty="0" smtClean="0">
                <a:solidFill>
                  <a:schemeClr val="tx1"/>
                </a:solidFill>
              </a:rPr>
              <a:t>Расходы на Социальную политику в расчете на 1 жителя города-курорта Железноводска Ставропольского края</a:t>
            </a: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Text Box 7"/>
          <p:cNvSpPr txBox="1">
            <a:spLocks noChangeArrowheads="1"/>
          </p:cNvSpPr>
          <p:nvPr/>
        </p:nvSpPr>
        <p:spPr bwMode="auto">
          <a:xfrm>
            <a:off x="5214950" y="2309794"/>
            <a:ext cx="129381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600" b="1" i="1" dirty="0"/>
              <a:t>тыс. </a:t>
            </a:r>
            <a:r>
              <a:rPr lang="ru-RU" sz="1800" b="1" i="1" dirty="0"/>
              <a:t>рублей</a:t>
            </a:r>
          </a:p>
        </p:txBody>
      </p:sp>
      <p:graphicFrame>
        <p:nvGraphicFramePr>
          <p:cNvPr id="54277" name="Object 3"/>
          <p:cNvGraphicFramePr>
            <a:graphicFrameLocks noGrp="1" noChangeAspect="1"/>
          </p:cNvGraphicFramePr>
          <p:nvPr/>
        </p:nvGraphicFramePr>
        <p:xfrm>
          <a:off x="290513" y="2813050"/>
          <a:ext cx="6359525" cy="2201863"/>
        </p:xfrm>
        <a:graphic>
          <a:graphicData uri="http://schemas.openxmlformats.org/presentationml/2006/ole">
            <p:oleObj spid="_x0000_s54277" name="Worksheet" r:id="rId3" imgW="3497681" imgH="1211544" progId="Excel.Shee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defRPr/>
            </a:pPr>
            <a:r>
              <a:rPr lang="ru-RU" b="1" dirty="0" smtClean="0">
                <a:solidFill>
                  <a:schemeClr val="tx1"/>
                </a:solidFill>
              </a:rPr>
              <a:t>Расходы на меры социальной поддержки населения в 2022 году</a:t>
            </a: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" name="Диаграмма 5"/>
          <p:cNvGraphicFramePr/>
          <p:nvPr>
            <p:extLst>
              <p:ext uri="{D42A27DB-BD31-4B8C-83A1-F6EECF244321}">
                <p14:modId xmlns="" xmlns:p14="http://schemas.microsoft.com/office/powerpoint/2010/main" val="342473632"/>
              </p:ext>
            </p:extLst>
          </p:nvPr>
        </p:nvGraphicFramePr>
        <p:xfrm>
          <a:off x="642918" y="3024174"/>
          <a:ext cx="5786478" cy="51624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Овал 6"/>
          <p:cNvSpPr/>
          <p:nvPr/>
        </p:nvSpPr>
        <p:spPr>
          <a:xfrm>
            <a:off x="3071810" y="4738686"/>
            <a:ext cx="1152000" cy="11520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15875">
            <a:solidFill>
              <a:schemeClr val="tx1">
                <a:lumMod val="65000"/>
                <a:lumOff val="35000"/>
              </a:schemeClr>
            </a:solidFill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ts val="1100"/>
              </a:lnSpc>
              <a:spcAft>
                <a:spcPts val="600"/>
              </a:spcAft>
            </a:pPr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460,6</a:t>
            </a:r>
            <a:endParaRPr lang="ru-RU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 rot="16200000" flipH="1">
            <a:off x="1643050" y="3667116"/>
            <a:ext cx="642942" cy="642942"/>
          </a:xfrm>
          <a:prstGeom prst="line">
            <a:avLst/>
          </a:prstGeom>
          <a:ln w="82550" cap="rnd">
            <a:solidFill>
              <a:srgbClr val="7DBD6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Группа 12"/>
          <p:cNvGrpSpPr/>
          <p:nvPr/>
        </p:nvGrpSpPr>
        <p:grpSpPr>
          <a:xfrm>
            <a:off x="214290" y="1381100"/>
            <a:ext cx="2214578" cy="2214578"/>
            <a:chOff x="103307" y="2564904"/>
            <a:chExt cx="2092429" cy="1512168"/>
          </a:xfrm>
        </p:grpSpPr>
        <p:sp>
          <p:nvSpPr>
            <p:cNvPr id="12" name="Скругленный прямоугольник 11"/>
            <p:cNvSpPr/>
            <p:nvPr/>
          </p:nvSpPr>
          <p:spPr>
            <a:xfrm>
              <a:off x="179512" y="2564904"/>
              <a:ext cx="2016224" cy="1512168"/>
            </a:xfrm>
            <a:prstGeom prst="roundRect">
              <a:avLst/>
            </a:prstGeom>
            <a:noFill/>
            <a:ln w="73025">
              <a:solidFill>
                <a:srgbClr val="7DBD6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103307" y="2857582"/>
              <a:ext cx="2081088" cy="5433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Поддержка</a:t>
              </a:r>
            </a:p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семей с детьми</a:t>
              </a:r>
            </a:p>
          </p:txBody>
        </p:sp>
        <p:sp>
          <p:nvSpPr>
            <p:cNvPr id="14" name="Скругленный прямоугольник 13"/>
            <p:cNvSpPr/>
            <p:nvPr/>
          </p:nvSpPr>
          <p:spPr>
            <a:xfrm>
              <a:off x="672540" y="3469184"/>
              <a:ext cx="1015144" cy="277101"/>
            </a:xfrm>
            <a:prstGeom prst="roundRect">
              <a:avLst>
                <a:gd name="adj" fmla="val 31566"/>
              </a:avLst>
            </a:prstGeom>
            <a:solidFill>
              <a:srgbClr val="57933F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dirty="0" smtClean="0"/>
                <a:t>259,8</a:t>
              </a:r>
              <a:endParaRPr lang="ru-RU" dirty="0"/>
            </a:p>
          </p:txBody>
        </p:sp>
      </p:grpSp>
      <p:grpSp>
        <p:nvGrpSpPr>
          <p:cNvPr id="15" name="Группа 25"/>
          <p:cNvGrpSpPr/>
          <p:nvPr/>
        </p:nvGrpSpPr>
        <p:grpSpPr>
          <a:xfrm>
            <a:off x="4000504" y="5087326"/>
            <a:ext cx="1294434" cy="1294434"/>
            <a:chOff x="4151784" y="3429000"/>
            <a:chExt cx="1440160" cy="1080120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4151784" y="4077072"/>
              <a:ext cx="1440160" cy="432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16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33%</a:t>
              </a:r>
            </a:p>
          </p:txBody>
        </p:sp>
        <p:grpSp>
          <p:nvGrpSpPr>
            <p:cNvPr id="17" name="Группа 14"/>
            <p:cNvGrpSpPr/>
            <p:nvPr/>
          </p:nvGrpSpPr>
          <p:grpSpPr>
            <a:xfrm>
              <a:off x="4439816" y="3429000"/>
              <a:ext cx="1008112" cy="654437"/>
              <a:chOff x="-9094704" y="-3608569"/>
              <a:chExt cx="10696296" cy="9258301"/>
            </a:xfrm>
            <a:solidFill>
              <a:schemeClr val="tx1">
                <a:lumMod val="85000"/>
                <a:lumOff val="15000"/>
              </a:schemeClr>
            </a:solidFill>
          </p:grpSpPr>
          <p:sp>
            <p:nvSpPr>
              <p:cNvPr id="18" name="Freeform 7"/>
              <p:cNvSpPr>
                <a:spLocks/>
              </p:cNvSpPr>
              <p:nvPr/>
            </p:nvSpPr>
            <p:spPr bwMode="auto">
              <a:xfrm>
                <a:off x="-9094704" y="-2116318"/>
                <a:ext cx="9608854" cy="7766050"/>
              </a:xfrm>
              <a:custGeom>
                <a:avLst/>
                <a:gdLst>
                  <a:gd name="T0" fmla="*/ 0 w 3578"/>
                  <a:gd name="T1" fmla="*/ 1919 h 2441"/>
                  <a:gd name="T2" fmla="*/ 2 w 3578"/>
                  <a:gd name="T3" fmla="*/ 1916 h 2441"/>
                  <a:gd name="T4" fmla="*/ 113 w 3578"/>
                  <a:gd name="T5" fmla="*/ 1792 h 2441"/>
                  <a:gd name="T6" fmla="*/ 335 w 3578"/>
                  <a:gd name="T7" fmla="*/ 1671 h 2441"/>
                  <a:gd name="T8" fmla="*/ 648 w 3578"/>
                  <a:gd name="T9" fmla="*/ 1113 h 2441"/>
                  <a:gd name="T10" fmla="*/ 651 w 3578"/>
                  <a:gd name="T11" fmla="*/ 973 h 2441"/>
                  <a:gd name="T12" fmla="*/ 690 w 3578"/>
                  <a:gd name="T13" fmla="*/ 819 h 2441"/>
                  <a:gd name="T14" fmla="*/ 1176 w 3578"/>
                  <a:gd name="T15" fmla="*/ 87 h 2441"/>
                  <a:gd name="T16" fmla="*/ 1399 w 3578"/>
                  <a:gd name="T17" fmla="*/ 18 h 2441"/>
                  <a:gd name="T18" fmla="*/ 1569 w 3578"/>
                  <a:gd name="T19" fmla="*/ 146 h 2441"/>
                  <a:gd name="T20" fmla="*/ 1589 w 3578"/>
                  <a:gd name="T21" fmla="*/ 163 h 2441"/>
                  <a:gd name="T22" fmla="*/ 2182 w 3578"/>
                  <a:gd name="T23" fmla="*/ 459 h 2441"/>
                  <a:gd name="T24" fmla="*/ 2253 w 3578"/>
                  <a:gd name="T25" fmla="*/ 540 h 2441"/>
                  <a:gd name="T26" fmla="*/ 2254 w 3578"/>
                  <a:gd name="T27" fmla="*/ 608 h 2441"/>
                  <a:gd name="T28" fmla="*/ 2275 w 3578"/>
                  <a:gd name="T29" fmla="*/ 618 h 2441"/>
                  <a:gd name="T30" fmla="*/ 2320 w 3578"/>
                  <a:gd name="T31" fmla="*/ 681 h 2441"/>
                  <a:gd name="T32" fmla="*/ 2341 w 3578"/>
                  <a:gd name="T33" fmla="*/ 996 h 2441"/>
                  <a:gd name="T34" fmla="*/ 2344 w 3578"/>
                  <a:gd name="T35" fmla="*/ 1015 h 2441"/>
                  <a:gd name="T36" fmla="*/ 2356 w 3578"/>
                  <a:gd name="T37" fmla="*/ 1015 h 2441"/>
                  <a:gd name="T38" fmla="*/ 2412 w 3578"/>
                  <a:gd name="T39" fmla="*/ 1049 h 2441"/>
                  <a:gd name="T40" fmla="*/ 2400 w 3578"/>
                  <a:gd name="T41" fmla="*/ 1113 h 2441"/>
                  <a:gd name="T42" fmla="*/ 2285 w 3578"/>
                  <a:gd name="T43" fmla="*/ 1266 h 2441"/>
                  <a:gd name="T44" fmla="*/ 2726 w 3578"/>
                  <a:gd name="T45" fmla="*/ 2255 h 2441"/>
                  <a:gd name="T46" fmla="*/ 3453 w 3578"/>
                  <a:gd name="T47" fmla="*/ 1962 h 2441"/>
                  <a:gd name="T48" fmla="*/ 3513 w 3578"/>
                  <a:gd name="T49" fmla="*/ 1929 h 2441"/>
                  <a:gd name="T50" fmla="*/ 3552 w 3578"/>
                  <a:gd name="T51" fmla="*/ 2018 h 2441"/>
                  <a:gd name="T52" fmla="*/ 3436 w 3578"/>
                  <a:gd name="T53" fmla="*/ 2161 h 2441"/>
                  <a:gd name="T54" fmla="*/ 2652 w 3578"/>
                  <a:gd name="T55" fmla="*/ 2352 h 2441"/>
                  <a:gd name="T56" fmla="*/ 2108 w 3578"/>
                  <a:gd name="T57" fmla="*/ 1768 h 2441"/>
                  <a:gd name="T58" fmla="*/ 2226 w 3578"/>
                  <a:gd name="T59" fmla="*/ 1146 h 2441"/>
                  <a:gd name="T60" fmla="*/ 2235 w 3578"/>
                  <a:gd name="T61" fmla="*/ 1115 h 2441"/>
                  <a:gd name="T62" fmla="*/ 2209 w 3578"/>
                  <a:gd name="T63" fmla="*/ 737 h 2441"/>
                  <a:gd name="T64" fmla="*/ 2203 w 3578"/>
                  <a:gd name="T65" fmla="*/ 713 h 2441"/>
                  <a:gd name="T66" fmla="*/ 2156 w 3578"/>
                  <a:gd name="T67" fmla="*/ 699 h 2441"/>
                  <a:gd name="T68" fmla="*/ 2053 w 3578"/>
                  <a:gd name="T69" fmla="*/ 683 h 2441"/>
                  <a:gd name="T70" fmla="*/ 1548 w 3578"/>
                  <a:gd name="T71" fmla="*/ 431 h 2441"/>
                  <a:gd name="T72" fmla="*/ 1526 w 3578"/>
                  <a:gd name="T73" fmla="*/ 420 h 2441"/>
                  <a:gd name="T74" fmla="*/ 1477 w 3578"/>
                  <a:gd name="T75" fmla="*/ 483 h 2441"/>
                  <a:gd name="T76" fmla="*/ 1148 w 3578"/>
                  <a:gd name="T77" fmla="*/ 993 h 2441"/>
                  <a:gd name="T78" fmla="*/ 1153 w 3578"/>
                  <a:gd name="T79" fmla="*/ 1021 h 2441"/>
                  <a:gd name="T80" fmla="*/ 1398 w 3578"/>
                  <a:gd name="T81" fmla="*/ 1408 h 2441"/>
                  <a:gd name="T82" fmla="*/ 1615 w 3578"/>
                  <a:gd name="T83" fmla="*/ 2020 h 2441"/>
                  <a:gd name="T84" fmla="*/ 1606 w 3578"/>
                  <a:gd name="T85" fmla="*/ 2130 h 2441"/>
                  <a:gd name="T86" fmla="*/ 1418 w 3578"/>
                  <a:gd name="T87" fmla="*/ 2204 h 2441"/>
                  <a:gd name="T88" fmla="*/ 1296 w 3578"/>
                  <a:gd name="T89" fmla="*/ 2072 h 2441"/>
                  <a:gd name="T90" fmla="*/ 1096 w 3578"/>
                  <a:gd name="T91" fmla="*/ 1525 h 2441"/>
                  <a:gd name="T92" fmla="*/ 956 w 3578"/>
                  <a:gd name="T93" fmla="*/ 1299 h 2441"/>
                  <a:gd name="T94" fmla="*/ 947 w 3578"/>
                  <a:gd name="T95" fmla="*/ 1286 h 2441"/>
                  <a:gd name="T96" fmla="*/ 938 w 3578"/>
                  <a:gd name="T97" fmla="*/ 1323 h 2441"/>
                  <a:gd name="T98" fmla="*/ 388 w 3578"/>
                  <a:gd name="T99" fmla="*/ 2015 h 2441"/>
                  <a:gd name="T100" fmla="*/ 205 w 3578"/>
                  <a:gd name="T101" fmla="*/ 2097 h 2441"/>
                  <a:gd name="T102" fmla="*/ 3 w 3578"/>
                  <a:gd name="T103" fmla="*/ 1974 h 2441"/>
                  <a:gd name="T104" fmla="*/ 0 w 3578"/>
                  <a:gd name="T105" fmla="*/ 1967 h 2441"/>
                  <a:gd name="T106" fmla="*/ 0 w 3578"/>
                  <a:gd name="T107" fmla="*/ 1919 h 24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578" h="2441">
                    <a:moveTo>
                      <a:pt x="0" y="1919"/>
                    </a:moveTo>
                    <a:cubicBezTo>
                      <a:pt x="1" y="1918"/>
                      <a:pt x="2" y="1917"/>
                      <a:pt x="2" y="1916"/>
                    </a:cubicBezTo>
                    <a:cubicBezTo>
                      <a:pt x="15" y="1853"/>
                      <a:pt x="55" y="1815"/>
                      <a:pt x="113" y="1792"/>
                    </a:cubicBezTo>
                    <a:cubicBezTo>
                      <a:pt x="192" y="1761"/>
                      <a:pt x="266" y="1721"/>
                      <a:pt x="335" y="1671"/>
                    </a:cubicBezTo>
                    <a:cubicBezTo>
                      <a:pt x="523" y="1532"/>
                      <a:pt x="629" y="1347"/>
                      <a:pt x="648" y="1113"/>
                    </a:cubicBezTo>
                    <a:cubicBezTo>
                      <a:pt x="652" y="1067"/>
                      <a:pt x="652" y="1020"/>
                      <a:pt x="651" y="973"/>
                    </a:cubicBezTo>
                    <a:cubicBezTo>
                      <a:pt x="650" y="918"/>
                      <a:pt x="663" y="867"/>
                      <a:pt x="690" y="819"/>
                    </a:cubicBezTo>
                    <a:cubicBezTo>
                      <a:pt x="832" y="561"/>
                      <a:pt x="993" y="317"/>
                      <a:pt x="1176" y="87"/>
                    </a:cubicBezTo>
                    <a:cubicBezTo>
                      <a:pt x="1234" y="13"/>
                      <a:pt x="1313" y="0"/>
                      <a:pt x="1399" y="18"/>
                    </a:cubicBezTo>
                    <a:cubicBezTo>
                      <a:pt x="1475" y="33"/>
                      <a:pt x="1533" y="76"/>
                      <a:pt x="1569" y="146"/>
                    </a:cubicBezTo>
                    <a:cubicBezTo>
                      <a:pt x="1572" y="153"/>
                      <a:pt x="1581" y="159"/>
                      <a:pt x="1589" y="163"/>
                    </a:cubicBezTo>
                    <a:cubicBezTo>
                      <a:pt x="1787" y="262"/>
                      <a:pt x="1984" y="361"/>
                      <a:pt x="2182" y="459"/>
                    </a:cubicBezTo>
                    <a:cubicBezTo>
                      <a:pt x="2217" y="477"/>
                      <a:pt x="2246" y="499"/>
                      <a:pt x="2253" y="540"/>
                    </a:cubicBezTo>
                    <a:cubicBezTo>
                      <a:pt x="2257" y="561"/>
                      <a:pt x="2254" y="583"/>
                      <a:pt x="2254" y="608"/>
                    </a:cubicBezTo>
                    <a:cubicBezTo>
                      <a:pt x="2258" y="610"/>
                      <a:pt x="2266" y="615"/>
                      <a:pt x="2275" y="618"/>
                    </a:cubicBezTo>
                    <a:cubicBezTo>
                      <a:pt x="2305" y="628"/>
                      <a:pt x="2318" y="650"/>
                      <a:pt x="2320" y="681"/>
                    </a:cubicBezTo>
                    <a:cubicBezTo>
                      <a:pt x="2327" y="786"/>
                      <a:pt x="2334" y="891"/>
                      <a:pt x="2341" y="996"/>
                    </a:cubicBezTo>
                    <a:cubicBezTo>
                      <a:pt x="2341" y="1002"/>
                      <a:pt x="2343" y="1008"/>
                      <a:pt x="2344" y="1015"/>
                    </a:cubicBezTo>
                    <a:cubicBezTo>
                      <a:pt x="2348" y="1015"/>
                      <a:pt x="2352" y="1015"/>
                      <a:pt x="2356" y="1015"/>
                    </a:cubicBezTo>
                    <a:cubicBezTo>
                      <a:pt x="2382" y="1014"/>
                      <a:pt x="2401" y="1025"/>
                      <a:pt x="2412" y="1049"/>
                    </a:cubicBezTo>
                    <a:cubicBezTo>
                      <a:pt x="2422" y="1072"/>
                      <a:pt x="2418" y="1095"/>
                      <a:pt x="2400" y="1113"/>
                    </a:cubicBezTo>
                    <a:cubicBezTo>
                      <a:pt x="2355" y="1159"/>
                      <a:pt x="2316" y="1210"/>
                      <a:pt x="2285" y="1266"/>
                    </a:cubicBezTo>
                    <a:cubicBezTo>
                      <a:pt x="2068" y="1654"/>
                      <a:pt x="2292" y="2157"/>
                      <a:pt x="2726" y="2255"/>
                    </a:cubicBezTo>
                    <a:cubicBezTo>
                      <a:pt x="3011" y="2320"/>
                      <a:pt x="3290" y="2207"/>
                      <a:pt x="3453" y="1962"/>
                    </a:cubicBezTo>
                    <a:cubicBezTo>
                      <a:pt x="3467" y="1940"/>
                      <a:pt x="3485" y="1925"/>
                      <a:pt x="3513" y="1929"/>
                    </a:cubicBezTo>
                    <a:cubicBezTo>
                      <a:pt x="3556" y="1934"/>
                      <a:pt x="3578" y="1982"/>
                      <a:pt x="3552" y="2018"/>
                    </a:cubicBezTo>
                    <a:cubicBezTo>
                      <a:pt x="3516" y="2068"/>
                      <a:pt x="3481" y="2119"/>
                      <a:pt x="3436" y="2161"/>
                    </a:cubicBezTo>
                    <a:cubicBezTo>
                      <a:pt x="3212" y="2373"/>
                      <a:pt x="2946" y="2441"/>
                      <a:pt x="2652" y="2352"/>
                    </a:cubicBezTo>
                    <a:cubicBezTo>
                      <a:pt x="2362" y="2264"/>
                      <a:pt x="2179" y="2063"/>
                      <a:pt x="2108" y="1768"/>
                    </a:cubicBezTo>
                    <a:cubicBezTo>
                      <a:pt x="2055" y="1545"/>
                      <a:pt x="2099" y="1337"/>
                      <a:pt x="2226" y="1146"/>
                    </a:cubicBezTo>
                    <a:cubicBezTo>
                      <a:pt x="2232" y="1138"/>
                      <a:pt x="2236" y="1126"/>
                      <a:pt x="2235" y="1115"/>
                    </a:cubicBezTo>
                    <a:cubicBezTo>
                      <a:pt x="2227" y="989"/>
                      <a:pt x="2218" y="863"/>
                      <a:pt x="2209" y="737"/>
                    </a:cubicBezTo>
                    <a:cubicBezTo>
                      <a:pt x="2209" y="728"/>
                      <a:pt x="2208" y="715"/>
                      <a:pt x="2203" y="713"/>
                    </a:cubicBezTo>
                    <a:cubicBezTo>
                      <a:pt x="2188" y="706"/>
                      <a:pt x="2170" y="696"/>
                      <a:pt x="2156" y="699"/>
                    </a:cubicBezTo>
                    <a:cubicBezTo>
                      <a:pt x="2119" y="705"/>
                      <a:pt x="2086" y="700"/>
                      <a:pt x="2053" y="683"/>
                    </a:cubicBezTo>
                    <a:cubicBezTo>
                      <a:pt x="1885" y="599"/>
                      <a:pt x="1716" y="515"/>
                      <a:pt x="1548" y="431"/>
                    </a:cubicBezTo>
                    <a:cubicBezTo>
                      <a:pt x="1541" y="427"/>
                      <a:pt x="1535" y="424"/>
                      <a:pt x="1526" y="420"/>
                    </a:cubicBezTo>
                    <a:cubicBezTo>
                      <a:pt x="1510" y="441"/>
                      <a:pt x="1493" y="462"/>
                      <a:pt x="1477" y="483"/>
                    </a:cubicBezTo>
                    <a:cubicBezTo>
                      <a:pt x="1355" y="645"/>
                      <a:pt x="1248" y="817"/>
                      <a:pt x="1148" y="993"/>
                    </a:cubicBezTo>
                    <a:cubicBezTo>
                      <a:pt x="1140" y="1006"/>
                      <a:pt x="1146" y="1012"/>
                      <a:pt x="1153" y="1021"/>
                    </a:cubicBezTo>
                    <a:cubicBezTo>
                      <a:pt x="1247" y="1142"/>
                      <a:pt x="1328" y="1272"/>
                      <a:pt x="1398" y="1408"/>
                    </a:cubicBezTo>
                    <a:cubicBezTo>
                      <a:pt x="1498" y="1603"/>
                      <a:pt x="1569" y="1807"/>
                      <a:pt x="1615" y="2020"/>
                    </a:cubicBezTo>
                    <a:cubicBezTo>
                      <a:pt x="1623" y="2057"/>
                      <a:pt x="1622" y="2094"/>
                      <a:pt x="1606" y="2130"/>
                    </a:cubicBezTo>
                    <a:cubicBezTo>
                      <a:pt x="1575" y="2194"/>
                      <a:pt x="1495" y="2227"/>
                      <a:pt x="1418" y="2204"/>
                    </a:cubicBezTo>
                    <a:cubicBezTo>
                      <a:pt x="1351" y="2185"/>
                      <a:pt x="1311" y="2140"/>
                      <a:pt x="1296" y="2072"/>
                    </a:cubicBezTo>
                    <a:cubicBezTo>
                      <a:pt x="1255" y="1880"/>
                      <a:pt x="1191" y="1696"/>
                      <a:pt x="1096" y="1525"/>
                    </a:cubicBezTo>
                    <a:cubicBezTo>
                      <a:pt x="1053" y="1448"/>
                      <a:pt x="1003" y="1374"/>
                      <a:pt x="956" y="1299"/>
                    </a:cubicBezTo>
                    <a:cubicBezTo>
                      <a:pt x="954" y="1295"/>
                      <a:pt x="952" y="1293"/>
                      <a:pt x="947" y="1286"/>
                    </a:cubicBezTo>
                    <a:cubicBezTo>
                      <a:pt x="943" y="1300"/>
                      <a:pt x="940" y="1312"/>
                      <a:pt x="938" y="1323"/>
                    </a:cubicBezTo>
                    <a:cubicBezTo>
                      <a:pt x="858" y="1636"/>
                      <a:pt x="669" y="1862"/>
                      <a:pt x="388" y="2015"/>
                    </a:cubicBezTo>
                    <a:cubicBezTo>
                      <a:pt x="329" y="2047"/>
                      <a:pt x="268" y="2078"/>
                      <a:pt x="205" y="2097"/>
                    </a:cubicBezTo>
                    <a:cubicBezTo>
                      <a:pt x="107" y="2128"/>
                      <a:pt x="25" y="2075"/>
                      <a:pt x="3" y="1974"/>
                    </a:cubicBezTo>
                    <a:cubicBezTo>
                      <a:pt x="3" y="1972"/>
                      <a:pt x="1" y="1969"/>
                      <a:pt x="0" y="1967"/>
                    </a:cubicBezTo>
                    <a:cubicBezTo>
                      <a:pt x="0" y="1951"/>
                      <a:pt x="0" y="1935"/>
                      <a:pt x="0" y="19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19" name="Freeform 8"/>
              <p:cNvSpPr>
                <a:spLocks noEditPoints="1"/>
              </p:cNvSpPr>
              <p:nvPr/>
            </p:nvSpPr>
            <p:spPr bwMode="auto">
              <a:xfrm>
                <a:off x="-2367545" y="-1193978"/>
                <a:ext cx="3969137" cy="5924553"/>
              </a:xfrm>
              <a:custGeom>
                <a:avLst/>
                <a:gdLst>
                  <a:gd name="T0" fmla="*/ 1478 w 1478"/>
                  <a:gd name="T1" fmla="*/ 1725 h 1862"/>
                  <a:gd name="T2" fmla="*/ 1475 w 1478"/>
                  <a:gd name="T3" fmla="*/ 1732 h 1862"/>
                  <a:gd name="T4" fmla="*/ 1369 w 1478"/>
                  <a:gd name="T5" fmla="*/ 1846 h 1862"/>
                  <a:gd name="T6" fmla="*/ 1211 w 1478"/>
                  <a:gd name="T7" fmla="*/ 1798 h 1862"/>
                  <a:gd name="T8" fmla="*/ 1170 w 1478"/>
                  <a:gd name="T9" fmla="*/ 1730 h 1862"/>
                  <a:gd name="T10" fmla="*/ 938 w 1478"/>
                  <a:gd name="T11" fmla="*/ 1178 h 1862"/>
                  <a:gd name="T12" fmla="*/ 930 w 1478"/>
                  <a:gd name="T13" fmla="*/ 1160 h 1862"/>
                  <a:gd name="T14" fmla="*/ 670 w 1478"/>
                  <a:gd name="T15" fmla="*/ 1160 h 1862"/>
                  <a:gd name="T16" fmla="*/ 189 w 1478"/>
                  <a:gd name="T17" fmla="*/ 1157 h 1862"/>
                  <a:gd name="T18" fmla="*/ 3 w 1478"/>
                  <a:gd name="T19" fmla="*/ 977 h 1862"/>
                  <a:gd name="T20" fmla="*/ 12 w 1478"/>
                  <a:gd name="T21" fmla="*/ 780 h 1862"/>
                  <a:gd name="T22" fmla="*/ 94 w 1478"/>
                  <a:gd name="T23" fmla="*/ 202 h 1862"/>
                  <a:gd name="T24" fmla="*/ 273 w 1478"/>
                  <a:gd name="T25" fmla="*/ 21 h 1862"/>
                  <a:gd name="T26" fmla="*/ 497 w 1478"/>
                  <a:gd name="T27" fmla="*/ 90 h 1862"/>
                  <a:gd name="T28" fmla="*/ 723 w 1478"/>
                  <a:gd name="T29" fmla="*/ 341 h 1862"/>
                  <a:gd name="T30" fmla="*/ 974 w 1478"/>
                  <a:gd name="T31" fmla="*/ 601 h 1862"/>
                  <a:gd name="T32" fmla="*/ 946 w 1478"/>
                  <a:gd name="T33" fmla="*/ 831 h 1862"/>
                  <a:gd name="T34" fmla="*/ 929 w 1478"/>
                  <a:gd name="T35" fmla="*/ 841 h 1862"/>
                  <a:gd name="T36" fmla="*/ 1005 w 1478"/>
                  <a:gd name="T37" fmla="*/ 845 h 1862"/>
                  <a:gd name="T38" fmla="*/ 1188 w 1478"/>
                  <a:gd name="T39" fmla="*/ 973 h 1862"/>
                  <a:gd name="T40" fmla="*/ 1458 w 1478"/>
                  <a:gd name="T41" fmla="*/ 1611 h 1862"/>
                  <a:gd name="T42" fmla="*/ 1478 w 1478"/>
                  <a:gd name="T43" fmla="*/ 1673 h 1862"/>
                  <a:gd name="T44" fmla="*/ 1478 w 1478"/>
                  <a:gd name="T45" fmla="*/ 1725 h 1862"/>
                  <a:gd name="T46" fmla="*/ 492 w 1478"/>
                  <a:gd name="T47" fmla="*/ 836 h 1862"/>
                  <a:gd name="T48" fmla="*/ 817 w 1478"/>
                  <a:gd name="T49" fmla="*/ 843 h 1862"/>
                  <a:gd name="T50" fmla="*/ 525 w 1478"/>
                  <a:gd name="T51" fmla="*/ 555 h 1862"/>
                  <a:gd name="T52" fmla="*/ 492 w 1478"/>
                  <a:gd name="T53" fmla="*/ 836 h 18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478" h="1862">
                    <a:moveTo>
                      <a:pt x="1478" y="1725"/>
                    </a:moveTo>
                    <a:cubicBezTo>
                      <a:pt x="1477" y="1727"/>
                      <a:pt x="1475" y="1730"/>
                      <a:pt x="1475" y="1732"/>
                    </a:cubicBezTo>
                    <a:cubicBezTo>
                      <a:pt x="1464" y="1793"/>
                      <a:pt x="1428" y="1831"/>
                      <a:pt x="1369" y="1846"/>
                    </a:cubicBezTo>
                    <a:cubicBezTo>
                      <a:pt x="1306" y="1862"/>
                      <a:pt x="1253" y="1845"/>
                      <a:pt x="1211" y="1798"/>
                    </a:cubicBezTo>
                    <a:cubicBezTo>
                      <a:pt x="1194" y="1778"/>
                      <a:pt x="1180" y="1754"/>
                      <a:pt x="1170" y="1730"/>
                    </a:cubicBezTo>
                    <a:cubicBezTo>
                      <a:pt x="1092" y="1546"/>
                      <a:pt x="1015" y="1362"/>
                      <a:pt x="938" y="1178"/>
                    </a:cubicBezTo>
                    <a:cubicBezTo>
                      <a:pt x="935" y="1171"/>
                      <a:pt x="932" y="1165"/>
                      <a:pt x="930" y="1160"/>
                    </a:cubicBezTo>
                    <a:cubicBezTo>
                      <a:pt x="842" y="1160"/>
                      <a:pt x="756" y="1160"/>
                      <a:pt x="670" y="1160"/>
                    </a:cubicBezTo>
                    <a:cubicBezTo>
                      <a:pt x="510" y="1159"/>
                      <a:pt x="349" y="1159"/>
                      <a:pt x="189" y="1157"/>
                    </a:cubicBezTo>
                    <a:cubicBezTo>
                      <a:pt x="85" y="1155"/>
                      <a:pt x="9" y="1083"/>
                      <a:pt x="3" y="977"/>
                    </a:cubicBezTo>
                    <a:cubicBezTo>
                      <a:pt x="0" y="911"/>
                      <a:pt x="4" y="845"/>
                      <a:pt x="12" y="780"/>
                    </a:cubicBezTo>
                    <a:cubicBezTo>
                      <a:pt x="37" y="587"/>
                      <a:pt x="65" y="394"/>
                      <a:pt x="94" y="202"/>
                    </a:cubicBezTo>
                    <a:cubicBezTo>
                      <a:pt x="107" y="111"/>
                      <a:pt x="176" y="44"/>
                      <a:pt x="273" y="21"/>
                    </a:cubicBezTo>
                    <a:cubicBezTo>
                      <a:pt x="362" y="0"/>
                      <a:pt x="436" y="26"/>
                      <a:pt x="497" y="90"/>
                    </a:cubicBezTo>
                    <a:cubicBezTo>
                      <a:pt x="574" y="172"/>
                      <a:pt x="646" y="259"/>
                      <a:pt x="723" y="341"/>
                    </a:cubicBezTo>
                    <a:cubicBezTo>
                      <a:pt x="805" y="429"/>
                      <a:pt x="887" y="519"/>
                      <a:pt x="974" y="601"/>
                    </a:cubicBezTo>
                    <a:cubicBezTo>
                      <a:pt x="1067" y="688"/>
                      <a:pt x="1019" y="791"/>
                      <a:pt x="946" y="831"/>
                    </a:cubicBezTo>
                    <a:cubicBezTo>
                      <a:pt x="942" y="833"/>
                      <a:pt x="938" y="836"/>
                      <a:pt x="929" y="841"/>
                    </a:cubicBezTo>
                    <a:cubicBezTo>
                      <a:pt x="958" y="842"/>
                      <a:pt x="981" y="843"/>
                      <a:pt x="1005" y="845"/>
                    </a:cubicBezTo>
                    <a:cubicBezTo>
                      <a:pt x="1093" y="849"/>
                      <a:pt x="1153" y="891"/>
                      <a:pt x="1188" y="973"/>
                    </a:cubicBezTo>
                    <a:cubicBezTo>
                      <a:pt x="1277" y="1186"/>
                      <a:pt x="1368" y="1398"/>
                      <a:pt x="1458" y="1611"/>
                    </a:cubicBezTo>
                    <a:cubicBezTo>
                      <a:pt x="1466" y="1631"/>
                      <a:pt x="1471" y="1652"/>
                      <a:pt x="1478" y="1673"/>
                    </a:cubicBezTo>
                    <a:cubicBezTo>
                      <a:pt x="1478" y="1690"/>
                      <a:pt x="1478" y="1708"/>
                      <a:pt x="1478" y="1725"/>
                    </a:cubicBezTo>
                    <a:close/>
                    <a:moveTo>
                      <a:pt x="492" y="836"/>
                    </a:moveTo>
                    <a:cubicBezTo>
                      <a:pt x="603" y="838"/>
                      <a:pt x="710" y="840"/>
                      <a:pt x="817" y="843"/>
                    </a:cubicBezTo>
                    <a:cubicBezTo>
                      <a:pt x="712" y="755"/>
                      <a:pt x="621" y="656"/>
                      <a:pt x="525" y="555"/>
                    </a:cubicBezTo>
                    <a:cubicBezTo>
                      <a:pt x="514" y="651"/>
                      <a:pt x="503" y="742"/>
                      <a:pt x="492" y="8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20" name="Freeform 9"/>
              <p:cNvSpPr>
                <a:spLocks/>
              </p:cNvSpPr>
              <p:nvPr/>
            </p:nvSpPr>
            <p:spPr bwMode="auto">
              <a:xfrm>
                <a:off x="-6338857" y="-3608569"/>
                <a:ext cx="1531024" cy="1727204"/>
              </a:xfrm>
              <a:custGeom>
                <a:avLst/>
                <a:gdLst>
                  <a:gd name="T0" fmla="*/ 315 w 570"/>
                  <a:gd name="T1" fmla="*/ 0 h 543"/>
                  <a:gd name="T2" fmla="*/ 381 w 570"/>
                  <a:gd name="T3" fmla="*/ 20 h 543"/>
                  <a:gd name="T4" fmla="*/ 546 w 570"/>
                  <a:gd name="T5" fmla="*/ 321 h 543"/>
                  <a:gd name="T6" fmla="*/ 288 w 570"/>
                  <a:gd name="T7" fmla="*/ 539 h 543"/>
                  <a:gd name="T8" fmla="*/ 13 w 570"/>
                  <a:gd name="T9" fmla="*/ 288 h 543"/>
                  <a:gd name="T10" fmla="*/ 238 w 570"/>
                  <a:gd name="T11" fmla="*/ 4 h 543"/>
                  <a:gd name="T12" fmla="*/ 251 w 570"/>
                  <a:gd name="T13" fmla="*/ 0 h 543"/>
                  <a:gd name="T14" fmla="*/ 315 w 570"/>
                  <a:gd name="T15" fmla="*/ 0 h 5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70" h="543">
                    <a:moveTo>
                      <a:pt x="315" y="0"/>
                    </a:moveTo>
                    <a:cubicBezTo>
                      <a:pt x="337" y="6"/>
                      <a:pt x="360" y="11"/>
                      <a:pt x="381" y="20"/>
                    </a:cubicBezTo>
                    <a:cubicBezTo>
                      <a:pt x="503" y="68"/>
                      <a:pt x="570" y="192"/>
                      <a:pt x="546" y="321"/>
                    </a:cubicBezTo>
                    <a:cubicBezTo>
                      <a:pt x="524" y="444"/>
                      <a:pt x="414" y="536"/>
                      <a:pt x="288" y="539"/>
                    </a:cubicBezTo>
                    <a:cubicBezTo>
                      <a:pt x="145" y="543"/>
                      <a:pt x="27" y="435"/>
                      <a:pt x="13" y="288"/>
                    </a:cubicBezTo>
                    <a:cubicBezTo>
                      <a:pt x="0" y="154"/>
                      <a:pt x="101" y="26"/>
                      <a:pt x="238" y="4"/>
                    </a:cubicBezTo>
                    <a:cubicBezTo>
                      <a:pt x="242" y="3"/>
                      <a:pt x="247" y="1"/>
                      <a:pt x="251" y="0"/>
                    </a:cubicBezTo>
                    <a:cubicBezTo>
                      <a:pt x="272" y="0"/>
                      <a:pt x="294" y="0"/>
                      <a:pt x="3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21" name="Freeform 10"/>
              <p:cNvSpPr>
                <a:spLocks/>
              </p:cNvSpPr>
              <p:nvPr/>
            </p:nvSpPr>
            <p:spPr bwMode="auto">
              <a:xfrm>
                <a:off x="-2652727" y="-3064052"/>
                <a:ext cx="1496137" cy="1768470"/>
              </a:xfrm>
              <a:custGeom>
                <a:avLst/>
                <a:gdLst>
                  <a:gd name="T0" fmla="*/ 278 w 557"/>
                  <a:gd name="T1" fmla="*/ 0 h 556"/>
                  <a:gd name="T2" fmla="*/ 556 w 557"/>
                  <a:gd name="T3" fmla="*/ 279 h 556"/>
                  <a:gd name="T4" fmla="*/ 278 w 557"/>
                  <a:gd name="T5" fmla="*/ 556 h 556"/>
                  <a:gd name="T6" fmla="*/ 0 w 557"/>
                  <a:gd name="T7" fmla="*/ 278 h 556"/>
                  <a:gd name="T8" fmla="*/ 278 w 557"/>
                  <a:gd name="T9" fmla="*/ 0 h 5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7" h="556">
                    <a:moveTo>
                      <a:pt x="278" y="0"/>
                    </a:moveTo>
                    <a:cubicBezTo>
                      <a:pt x="432" y="0"/>
                      <a:pt x="557" y="125"/>
                      <a:pt x="556" y="279"/>
                    </a:cubicBezTo>
                    <a:cubicBezTo>
                      <a:pt x="555" y="431"/>
                      <a:pt x="431" y="556"/>
                      <a:pt x="278" y="556"/>
                    </a:cubicBezTo>
                    <a:cubicBezTo>
                      <a:pt x="125" y="556"/>
                      <a:pt x="0" y="432"/>
                      <a:pt x="0" y="278"/>
                    </a:cubicBezTo>
                    <a:cubicBezTo>
                      <a:pt x="0" y="124"/>
                      <a:pt x="124" y="0"/>
                      <a:pt x="27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</p:grpSp>
      </p:grpSp>
      <p:grpSp>
        <p:nvGrpSpPr>
          <p:cNvPr id="22" name="Группа 13"/>
          <p:cNvGrpSpPr/>
          <p:nvPr/>
        </p:nvGrpSpPr>
        <p:grpSpPr>
          <a:xfrm>
            <a:off x="928670" y="7810520"/>
            <a:ext cx="2081846" cy="1540800"/>
            <a:chOff x="171004" y="4754736"/>
            <a:chExt cx="2268000" cy="1540800"/>
          </a:xfrm>
        </p:grpSpPr>
        <p:sp>
          <p:nvSpPr>
            <p:cNvPr id="23" name="Скругленный прямоугольник 22"/>
            <p:cNvSpPr/>
            <p:nvPr/>
          </p:nvSpPr>
          <p:spPr>
            <a:xfrm>
              <a:off x="171004" y="4754736"/>
              <a:ext cx="2268000" cy="1540800"/>
            </a:xfrm>
            <a:prstGeom prst="roundRect">
              <a:avLst/>
            </a:prstGeom>
            <a:noFill/>
            <a:ln w="73025">
              <a:solidFill>
                <a:srgbClr val="EEBB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4" name="Прямоугольник 23"/>
            <p:cNvSpPr/>
            <p:nvPr/>
          </p:nvSpPr>
          <p:spPr>
            <a:xfrm>
              <a:off x="258664" y="4856460"/>
              <a:ext cx="2081088" cy="55720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Прочие виды</a:t>
              </a:r>
            </a:p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поддержки</a:t>
              </a:r>
              <a:endParaRPr lang="ru-RU" dirty="0"/>
            </a:p>
          </p:txBody>
        </p:sp>
        <p:sp>
          <p:nvSpPr>
            <p:cNvPr id="25" name="Скругленный прямоугольник 24"/>
            <p:cNvSpPr/>
            <p:nvPr/>
          </p:nvSpPr>
          <p:spPr>
            <a:xfrm>
              <a:off x="800517" y="5529240"/>
              <a:ext cx="1015144" cy="513132"/>
            </a:xfrm>
            <a:prstGeom prst="roundRect">
              <a:avLst>
                <a:gd name="adj" fmla="val 31566"/>
              </a:avLst>
            </a:prstGeom>
            <a:solidFill>
              <a:srgbClr val="B2870E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dirty="0" smtClean="0"/>
                <a:t>47,4</a:t>
              </a:r>
              <a:endParaRPr lang="ru-RU" dirty="0"/>
            </a:p>
          </p:txBody>
        </p:sp>
      </p:grpSp>
      <p:cxnSp>
        <p:nvCxnSpPr>
          <p:cNvPr id="26" name="Прямая соединительная линия 25"/>
          <p:cNvCxnSpPr/>
          <p:nvPr/>
        </p:nvCxnSpPr>
        <p:spPr>
          <a:xfrm rot="5400000" flipH="1" flipV="1">
            <a:off x="2607463" y="7917677"/>
            <a:ext cx="1285884" cy="500066"/>
          </a:xfrm>
          <a:prstGeom prst="line">
            <a:avLst/>
          </a:prstGeom>
          <a:ln w="82550" cap="rnd">
            <a:solidFill>
              <a:srgbClr val="EEBB2A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Группа 24"/>
          <p:cNvGrpSpPr/>
          <p:nvPr/>
        </p:nvGrpSpPr>
        <p:grpSpPr>
          <a:xfrm>
            <a:off x="2714620" y="6667512"/>
            <a:ext cx="962918" cy="825642"/>
            <a:chOff x="5189125" y="5555686"/>
            <a:chExt cx="952507" cy="825642"/>
          </a:xfrm>
        </p:grpSpPr>
        <p:sp>
          <p:nvSpPr>
            <p:cNvPr id="28" name="Прямоугольник 27"/>
            <p:cNvSpPr/>
            <p:nvPr/>
          </p:nvSpPr>
          <p:spPr>
            <a:xfrm>
              <a:off x="5189125" y="5949280"/>
              <a:ext cx="952507" cy="432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16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0%</a:t>
              </a:r>
            </a:p>
          </p:txBody>
        </p:sp>
        <p:grpSp>
          <p:nvGrpSpPr>
            <p:cNvPr id="29" name="Группа 23"/>
            <p:cNvGrpSpPr/>
            <p:nvPr/>
          </p:nvGrpSpPr>
          <p:grpSpPr>
            <a:xfrm>
              <a:off x="5347176" y="5555686"/>
              <a:ext cx="621211" cy="465602"/>
              <a:chOff x="-4987107" y="4351686"/>
              <a:chExt cx="4841876" cy="4838700"/>
            </a:xfrm>
            <a:solidFill>
              <a:schemeClr val="tx1">
                <a:lumMod val="85000"/>
                <a:lumOff val="15000"/>
              </a:schemeClr>
            </a:solidFill>
          </p:grpSpPr>
          <p:sp>
            <p:nvSpPr>
              <p:cNvPr id="30" name="Freeform 17"/>
              <p:cNvSpPr>
                <a:spLocks noEditPoints="1"/>
              </p:cNvSpPr>
              <p:nvPr/>
            </p:nvSpPr>
            <p:spPr bwMode="auto">
              <a:xfrm>
                <a:off x="-3869505" y="4351686"/>
                <a:ext cx="2606671" cy="3092452"/>
              </a:xfrm>
              <a:custGeom>
                <a:avLst/>
                <a:gdLst>
                  <a:gd name="T0" fmla="*/ 1303 w 2545"/>
                  <a:gd name="T1" fmla="*/ 0 h 3021"/>
                  <a:gd name="T2" fmla="*/ 1505 w 2545"/>
                  <a:gd name="T3" fmla="*/ 105 h 3021"/>
                  <a:gd name="T4" fmla="*/ 1994 w 2545"/>
                  <a:gd name="T5" fmla="*/ 384 h 3021"/>
                  <a:gd name="T6" fmla="*/ 2451 w 2545"/>
                  <a:gd name="T7" fmla="*/ 646 h 3021"/>
                  <a:gd name="T8" fmla="*/ 2545 w 2545"/>
                  <a:gd name="T9" fmla="*/ 809 h 3021"/>
                  <a:gd name="T10" fmla="*/ 2545 w 2545"/>
                  <a:gd name="T11" fmla="*/ 1895 h 3021"/>
                  <a:gd name="T12" fmla="*/ 2480 w 2545"/>
                  <a:gd name="T13" fmla="*/ 2037 h 3021"/>
                  <a:gd name="T14" fmla="*/ 2111 w 2545"/>
                  <a:gd name="T15" fmla="*/ 2346 h 3021"/>
                  <a:gd name="T16" fmla="*/ 1670 w 2545"/>
                  <a:gd name="T17" fmla="*/ 2718 h 3021"/>
                  <a:gd name="T18" fmla="*/ 1380 w 2545"/>
                  <a:gd name="T19" fmla="*/ 2962 h 3021"/>
                  <a:gd name="T20" fmla="*/ 1142 w 2545"/>
                  <a:gd name="T21" fmla="*/ 2960 h 3021"/>
                  <a:gd name="T22" fmla="*/ 421 w 2545"/>
                  <a:gd name="T23" fmla="*/ 2341 h 3021"/>
                  <a:gd name="T24" fmla="*/ 64 w 2545"/>
                  <a:gd name="T25" fmla="*/ 2035 h 3021"/>
                  <a:gd name="T26" fmla="*/ 0 w 2545"/>
                  <a:gd name="T27" fmla="*/ 1895 h 3021"/>
                  <a:gd name="T28" fmla="*/ 0 w 2545"/>
                  <a:gd name="T29" fmla="*/ 1622 h 3021"/>
                  <a:gd name="T30" fmla="*/ 0 w 2545"/>
                  <a:gd name="T31" fmla="*/ 815 h 3021"/>
                  <a:gd name="T32" fmla="*/ 100 w 2545"/>
                  <a:gd name="T33" fmla="*/ 642 h 3021"/>
                  <a:gd name="T34" fmla="*/ 803 w 2545"/>
                  <a:gd name="T35" fmla="*/ 240 h 3021"/>
                  <a:gd name="T36" fmla="*/ 1178 w 2545"/>
                  <a:gd name="T37" fmla="*/ 25 h 3021"/>
                  <a:gd name="T38" fmla="*/ 1234 w 2545"/>
                  <a:gd name="T39" fmla="*/ 0 h 3021"/>
                  <a:gd name="T40" fmla="*/ 1303 w 2545"/>
                  <a:gd name="T41" fmla="*/ 0 h 3021"/>
                  <a:gd name="T42" fmla="*/ 1386 w 2545"/>
                  <a:gd name="T43" fmla="*/ 1426 h 3021"/>
                  <a:gd name="T44" fmla="*/ 2147 w 2545"/>
                  <a:gd name="T45" fmla="*/ 898 h 3021"/>
                  <a:gd name="T46" fmla="*/ 2136 w 2545"/>
                  <a:gd name="T47" fmla="*/ 891 h 3021"/>
                  <a:gd name="T48" fmla="*/ 1978 w 2545"/>
                  <a:gd name="T49" fmla="*/ 800 h 3021"/>
                  <a:gd name="T50" fmla="*/ 1284 w 2545"/>
                  <a:gd name="T51" fmla="*/ 398 h 3021"/>
                  <a:gd name="T52" fmla="*/ 1261 w 2545"/>
                  <a:gd name="T53" fmla="*/ 398 h 3021"/>
                  <a:gd name="T54" fmla="*/ 623 w 2545"/>
                  <a:gd name="T55" fmla="*/ 767 h 3021"/>
                  <a:gd name="T56" fmla="*/ 534 w 2545"/>
                  <a:gd name="T57" fmla="*/ 818 h 3021"/>
                  <a:gd name="T58" fmla="*/ 1386 w 2545"/>
                  <a:gd name="T59" fmla="*/ 1426 h 3021"/>
                  <a:gd name="T60" fmla="*/ 364 w 2545"/>
                  <a:gd name="T61" fmla="*/ 1143 h 3021"/>
                  <a:gd name="T62" fmla="*/ 364 w 2545"/>
                  <a:gd name="T63" fmla="*/ 1153 h 3021"/>
                  <a:gd name="T64" fmla="*/ 364 w 2545"/>
                  <a:gd name="T65" fmla="*/ 1796 h 3021"/>
                  <a:gd name="T66" fmla="*/ 372 w 2545"/>
                  <a:gd name="T67" fmla="*/ 1814 h 3021"/>
                  <a:gd name="T68" fmla="*/ 470 w 2545"/>
                  <a:gd name="T69" fmla="*/ 1899 h 3021"/>
                  <a:gd name="T70" fmla="*/ 817 w 2545"/>
                  <a:gd name="T71" fmla="*/ 2200 h 3021"/>
                  <a:gd name="T72" fmla="*/ 1196 w 2545"/>
                  <a:gd name="T73" fmla="*/ 2529 h 3021"/>
                  <a:gd name="T74" fmla="*/ 1260 w 2545"/>
                  <a:gd name="T75" fmla="*/ 2584 h 3021"/>
                  <a:gd name="T76" fmla="*/ 1273 w 2545"/>
                  <a:gd name="T77" fmla="*/ 2560 h 3021"/>
                  <a:gd name="T78" fmla="*/ 1273 w 2545"/>
                  <a:gd name="T79" fmla="*/ 1804 h 3021"/>
                  <a:gd name="T80" fmla="*/ 1273 w 2545"/>
                  <a:gd name="T81" fmla="*/ 1797 h 3021"/>
                  <a:gd name="T82" fmla="*/ 1267 w 2545"/>
                  <a:gd name="T83" fmla="*/ 1788 h 3021"/>
                  <a:gd name="T84" fmla="*/ 1121 w 2545"/>
                  <a:gd name="T85" fmla="*/ 1684 h 3021"/>
                  <a:gd name="T86" fmla="*/ 463 w 2545"/>
                  <a:gd name="T87" fmla="*/ 1213 h 3021"/>
                  <a:gd name="T88" fmla="*/ 364 w 2545"/>
                  <a:gd name="T89" fmla="*/ 1143 h 30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545" h="3021">
                    <a:moveTo>
                      <a:pt x="1303" y="0"/>
                    </a:moveTo>
                    <a:cubicBezTo>
                      <a:pt x="1378" y="21"/>
                      <a:pt x="1439" y="67"/>
                      <a:pt x="1505" y="105"/>
                    </a:cubicBezTo>
                    <a:cubicBezTo>
                      <a:pt x="1669" y="197"/>
                      <a:pt x="1831" y="291"/>
                      <a:pt x="1994" y="384"/>
                    </a:cubicBezTo>
                    <a:cubicBezTo>
                      <a:pt x="2146" y="471"/>
                      <a:pt x="2299" y="558"/>
                      <a:pt x="2451" y="646"/>
                    </a:cubicBezTo>
                    <a:cubicBezTo>
                      <a:pt x="2513" y="682"/>
                      <a:pt x="2545" y="736"/>
                      <a:pt x="2545" y="809"/>
                    </a:cubicBezTo>
                    <a:cubicBezTo>
                      <a:pt x="2545" y="1171"/>
                      <a:pt x="2545" y="1533"/>
                      <a:pt x="2545" y="1895"/>
                    </a:cubicBezTo>
                    <a:cubicBezTo>
                      <a:pt x="2545" y="1952"/>
                      <a:pt x="2524" y="2000"/>
                      <a:pt x="2480" y="2037"/>
                    </a:cubicBezTo>
                    <a:cubicBezTo>
                      <a:pt x="2357" y="2140"/>
                      <a:pt x="2234" y="2243"/>
                      <a:pt x="2111" y="2346"/>
                    </a:cubicBezTo>
                    <a:cubicBezTo>
                      <a:pt x="1964" y="2470"/>
                      <a:pt x="1817" y="2594"/>
                      <a:pt x="1670" y="2718"/>
                    </a:cubicBezTo>
                    <a:cubicBezTo>
                      <a:pt x="1573" y="2799"/>
                      <a:pt x="1477" y="2881"/>
                      <a:pt x="1380" y="2962"/>
                    </a:cubicBezTo>
                    <a:cubicBezTo>
                      <a:pt x="1309" y="3021"/>
                      <a:pt x="1213" y="3020"/>
                      <a:pt x="1142" y="2960"/>
                    </a:cubicBezTo>
                    <a:cubicBezTo>
                      <a:pt x="902" y="2754"/>
                      <a:pt x="661" y="2548"/>
                      <a:pt x="421" y="2341"/>
                    </a:cubicBezTo>
                    <a:cubicBezTo>
                      <a:pt x="302" y="2239"/>
                      <a:pt x="183" y="2137"/>
                      <a:pt x="64" y="2035"/>
                    </a:cubicBezTo>
                    <a:cubicBezTo>
                      <a:pt x="21" y="1998"/>
                      <a:pt x="0" y="1951"/>
                      <a:pt x="0" y="1895"/>
                    </a:cubicBezTo>
                    <a:cubicBezTo>
                      <a:pt x="0" y="1804"/>
                      <a:pt x="0" y="1713"/>
                      <a:pt x="0" y="1622"/>
                    </a:cubicBezTo>
                    <a:cubicBezTo>
                      <a:pt x="0" y="1353"/>
                      <a:pt x="1" y="1084"/>
                      <a:pt x="0" y="815"/>
                    </a:cubicBezTo>
                    <a:cubicBezTo>
                      <a:pt x="0" y="737"/>
                      <a:pt x="33" y="681"/>
                      <a:pt x="100" y="642"/>
                    </a:cubicBezTo>
                    <a:cubicBezTo>
                      <a:pt x="335" y="509"/>
                      <a:pt x="569" y="374"/>
                      <a:pt x="803" y="240"/>
                    </a:cubicBezTo>
                    <a:cubicBezTo>
                      <a:pt x="928" y="168"/>
                      <a:pt x="1053" y="96"/>
                      <a:pt x="1178" y="25"/>
                    </a:cubicBezTo>
                    <a:cubicBezTo>
                      <a:pt x="1196" y="15"/>
                      <a:pt x="1215" y="8"/>
                      <a:pt x="1234" y="0"/>
                    </a:cubicBezTo>
                    <a:cubicBezTo>
                      <a:pt x="1257" y="0"/>
                      <a:pt x="1280" y="0"/>
                      <a:pt x="1303" y="0"/>
                    </a:cubicBezTo>
                    <a:close/>
                    <a:moveTo>
                      <a:pt x="1386" y="1426"/>
                    </a:moveTo>
                    <a:cubicBezTo>
                      <a:pt x="1640" y="1250"/>
                      <a:pt x="1893" y="1074"/>
                      <a:pt x="2147" y="898"/>
                    </a:cubicBezTo>
                    <a:cubicBezTo>
                      <a:pt x="2143" y="895"/>
                      <a:pt x="2140" y="893"/>
                      <a:pt x="2136" y="891"/>
                    </a:cubicBezTo>
                    <a:cubicBezTo>
                      <a:pt x="2084" y="861"/>
                      <a:pt x="2031" y="830"/>
                      <a:pt x="1978" y="800"/>
                    </a:cubicBezTo>
                    <a:cubicBezTo>
                      <a:pt x="1747" y="666"/>
                      <a:pt x="1515" y="532"/>
                      <a:pt x="1284" y="398"/>
                    </a:cubicBezTo>
                    <a:cubicBezTo>
                      <a:pt x="1275" y="393"/>
                      <a:pt x="1270" y="394"/>
                      <a:pt x="1261" y="398"/>
                    </a:cubicBezTo>
                    <a:cubicBezTo>
                      <a:pt x="1049" y="521"/>
                      <a:pt x="836" y="644"/>
                      <a:pt x="623" y="767"/>
                    </a:cubicBezTo>
                    <a:cubicBezTo>
                      <a:pt x="594" y="783"/>
                      <a:pt x="565" y="800"/>
                      <a:pt x="534" y="818"/>
                    </a:cubicBezTo>
                    <a:cubicBezTo>
                      <a:pt x="819" y="1021"/>
                      <a:pt x="1102" y="1223"/>
                      <a:pt x="1386" y="1426"/>
                    </a:cubicBezTo>
                    <a:close/>
                    <a:moveTo>
                      <a:pt x="364" y="1143"/>
                    </a:moveTo>
                    <a:cubicBezTo>
                      <a:pt x="364" y="1147"/>
                      <a:pt x="364" y="1150"/>
                      <a:pt x="364" y="1153"/>
                    </a:cubicBezTo>
                    <a:cubicBezTo>
                      <a:pt x="364" y="1367"/>
                      <a:pt x="364" y="1582"/>
                      <a:pt x="364" y="1796"/>
                    </a:cubicBezTo>
                    <a:cubicBezTo>
                      <a:pt x="364" y="1804"/>
                      <a:pt x="366" y="1809"/>
                      <a:pt x="372" y="1814"/>
                    </a:cubicBezTo>
                    <a:cubicBezTo>
                      <a:pt x="405" y="1842"/>
                      <a:pt x="438" y="1871"/>
                      <a:pt x="470" y="1899"/>
                    </a:cubicBezTo>
                    <a:cubicBezTo>
                      <a:pt x="586" y="2000"/>
                      <a:pt x="701" y="2100"/>
                      <a:pt x="817" y="2200"/>
                    </a:cubicBezTo>
                    <a:cubicBezTo>
                      <a:pt x="943" y="2310"/>
                      <a:pt x="1070" y="2419"/>
                      <a:pt x="1196" y="2529"/>
                    </a:cubicBezTo>
                    <a:cubicBezTo>
                      <a:pt x="1217" y="2547"/>
                      <a:pt x="1239" y="2566"/>
                      <a:pt x="1260" y="2584"/>
                    </a:cubicBezTo>
                    <a:cubicBezTo>
                      <a:pt x="1272" y="2579"/>
                      <a:pt x="1273" y="2570"/>
                      <a:pt x="1273" y="2560"/>
                    </a:cubicBezTo>
                    <a:cubicBezTo>
                      <a:pt x="1273" y="2308"/>
                      <a:pt x="1273" y="2056"/>
                      <a:pt x="1273" y="1804"/>
                    </a:cubicBezTo>
                    <a:cubicBezTo>
                      <a:pt x="1273" y="1802"/>
                      <a:pt x="1274" y="1799"/>
                      <a:pt x="1273" y="1797"/>
                    </a:cubicBezTo>
                    <a:cubicBezTo>
                      <a:pt x="1272" y="1793"/>
                      <a:pt x="1270" y="1789"/>
                      <a:pt x="1267" y="1788"/>
                    </a:cubicBezTo>
                    <a:cubicBezTo>
                      <a:pt x="1219" y="1753"/>
                      <a:pt x="1169" y="1718"/>
                      <a:pt x="1121" y="1684"/>
                    </a:cubicBezTo>
                    <a:cubicBezTo>
                      <a:pt x="901" y="1527"/>
                      <a:pt x="682" y="1370"/>
                      <a:pt x="463" y="1213"/>
                    </a:cubicBezTo>
                    <a:cubicBezTo>
                      <a:pt x="431" y="1190"/>
                      <a:pt x="398" y="1167"/>
                      <a:pt x="364" y="11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31" name="Freeform 18"/>
              <p:cNvSpPr>
                <a:spLocks/>
              </p:cNvSpPr>
              <p:nvPr/>
            </p:nvSpPr>
            <p:spPr bwMode="auto">
              <a:xfrm>
                <a:off x="-4987107" y="5240689"/>
                <a:ext cx="2049460" cy="3949697"/>
              </a:xfrm>
              <a:custGeom>
                <a:avLst/>
                <a:gdLst>
                  <a:gd name="T0" fmla="*/ 546 w 2001"/>
                  <a:gd name="T1" fmla="*/ 1141 h 3858"/>
                  <a:gd name="T2" fmla="*/ 318 w 2001"/>
                  <a:gd name="T3" fmla="*/ 1263 h 3858"/>
                  <a:gd name="T4" fmla="*/ 182 w 2001"/>
                  <a:gd name="T5" fmla="*/ 1569 h 3858"/>
                  <a:gd name="T6" fmla="*/ 196 w 2001"/>
                  <a:gd name="T7" fmla="*/ 1718 h 3858"/>
                  <a:gd name="T8" fmla="*/ 285 w 2001"/>
                  <a:gd name="T9" fmla="*/ 1880 h 3858"/>
                  <a:gd name="T10" fmla="*/ 379 w 2001"/>
                  <a:gd name="T11" fmla="*/ 1981 h 3858"/>
                  <a:gd name="T12" fmla="*/ 827 w 2001"/>
                  <a:gd name="T13" fmla="*/ 2430 h 3858"/>
                  <a:gd name="T14" fmla="*/ 1002 w 2001"/>
                  <a:gd name="T15" fmla="*/ 2532 h 3858"/>
                  <a:gd name="T16" fmla="*/ 1225 w 2001"/>
                  <a:gd name="T17" fmla="*/ 2557 h 3858"/>
                  <a:gd name="T18" fmla="*/ 1217 w 2001"/>
                  <a:gd name="T19" fmla="*/ 2547 h 3858"/>
                  <a:gd name="T20" fmla="*/ 538 w 2001"/>
                  <a:gd name="T21" fmla="*/ 1873 h 3858"/>
                  <a:gd name="T22" fmla="*/ 430 w 2001"/>
                  <a:gd name="T23" fmla="*/ 1763 h 3858"/>
                  <a:gd name="T24" fmla="*/ 558 w 2001"/>
                  <a:gd name="T25" fmla="*/ 1324 h 3858"/>
                  <a:gd name="T26" fmla="*/ 831 w 2001"/>
                  <a:gd name="T27" fmla="*/ 1395 h 3858"/>
                  <a:gd name="T28" fmla="*/ 1647 w 2001"/>
                  <a:gd name="T29" fmla="*/ 2210 h 3858"/>
                  <a:gd name="T30" fmla="*/ 1881 w 2001"/>
                  <a:gd name="T31" fmla="*/ 2533 h 3858"/>
                  <a:gd name="T32" fmla="*/ 1980 w 2001"/>
                  <a:gd name="T33" fmla="*/ 2848 h 3858"/>
                  <a:gd name="T34" fmla="*/ 2000 w 2001"/>
                  <a:gd name="T35" fmla="*/ 3179 h 3858"/>
                  <a:gd name="T36" fmla="*/ 1995 w 2001"/>
                  <a:gd name="T37" fmla="*/ 3748 h 3858"/>
                  <a:gd name="T38" fmla="*/ 1995 w 2001"/>
                  <a:gd name="T39" fmla="*/ 3842 h 3858"/>
                  <a:gd name="T40" fmla="*/ 1994 w 2001"/>
                  <a:gd name="T41" fmla="*/ 3858 h 3858"/>
                  <a:gd name="T42" fmla="*/ 1091 w 2001"/>
                  <a:gd name="T43" fmla="*/ 3858 h 3858"/>
                  <a:gd name="T44" fmla="*/ 1091 w 2001"/>
                  <a:gd name="T45" fmla="*/ 3839 h 3858"/>
                  <a:gd name="T46" fmla="*/ 1091 w 2001"/>
                  <a:gd name="T47" fmla="*/ 3329 h 3858"/>
                  <a:gd name="T48" fmla="*/ 1082 w 2001"/>
                  <a:gd name="T49" fmla="*/ 3302 h 3858"/>
                  <a:gd name="T50" fmla="*/ 741 w 2001"/>
                  <a:gd name="T51" fmla="*/ 2909 h 3858"/>
                  <a:gd name="T52" fmla="*/ 448 w 2001"/>
                  <a:gd name="T53" fmla="*/ 2572 h 3858"/>
                  <a:gd name="T54" fmla="*/ 139 w 2001"/>
                  <a:gd name="T55" fmla="*/ 2225 h 3858"/>
                  <a:gd name="T56" fmla="*/ 12 w 2001"/>
                  <a:gd name="T57" fmla="*/ 1938 h 3858"/>
                  <a:gd name="T58" fmla="*/ 0 w 2001"/>
                  <a:gd name="T59" fmla="*/ 1726 h 3858"/>
                  <a:gd name="T60" fmla="*/ 0 w 2001"/>
                  <a:gd name="T61" fmla="*/ 316 h 3858"/>
                  <a:gd name="T62" fmla="*/ 184 w 2001"/>
                  <a:gd name="T63" fmla="*/ 55 h 3858"/>
                  <a:gd name="T64" fmla="*/ 542 w 2001"/>
                  <a:gd name="T65" fmla="*/ 271 h 3858"/>
                  <a:gd name="T66" fmla="*/ 546 w 2001"/>
                  <a:gd name="T67" fmla="*/ 317 h 3858"/>
                  <a:gd name="T68" fmla="*/ 546 w 2001"/>
                  <a:gd name="T69" fmla="*/ 1127 h 3858"/>
                  <a:gd name="T70" fmla="*/ 546 w 2001"/>
                  <a:gd name="T71" fmla="*/ 1141 h 38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001" h="3858">
                    <a:moveTo>
                      <a:pt x="546" y="1141"/>
                    </a:moveTo>
                    <a:cubicBezTo>
                      <a:pt x="455" y="1158"/>
                      <a:pt x="382" y="1203"/>
                      <a:pt x="318" y="1263"/>
                    </a:cubicBezTo>
                    <a:cubicBezTo>
                      <a:pt x="231" y="1346"/>
                      <a:pt x="182" y="1447"/>
                      <a:pt x="182" y="1569"/>
                    </a:cubicBezTo>
                    <a:cubicBezTo>
                      <a:pt x="182" y="1619"/>
                      <a:pt x="184" y="1669"/>
                      <a:pt x="196" y="1718"/>
                    </a:cubicBezTo>
                    <a:cubicBezTo>
                      <a:pt x="211" y="1780"/>
                      <a:pt x="243" y="1833"/>
                      <a:pt x="285" y="1880"/>
                    </a:cubicBezTo>
                    <a:cubicBezTo>
                      <a:pt x="315" y="1915"/>
                      <a:pt x="347" y="1949"/>
                      <a:pt x="379" y="1981"/>
                    </a:cubicBezTo>
                    <a:cubicBezTo>
                      <a:pt x="528" y="2131"/>
                      <a:pt x="679" y="2280"/>
                      <a:pt x="827" y="2430"/>
                    </a:cubicBezTo>
                    <a:cubicBezTo>
                      <a:pt x="877" y="2481"/>
                      <a:pt x="935" y="2514"/>
                      <a:pt x="1002" y="2532"/>
                    </a:cubicBezTo>
                    <a:cubicBezTo>
                      <a:pt x="1075" y="2551"/>
                      <a:pt x="1148" y="2559"/>
                      <a:pt x="1225" y="2557"/>
                    </a:cubicBezTo>
                    <a:cubicBezTo>
                      <a:pt x="1222" y="2553"/>
                      <a:pt x="1220" y="2550"/>
                      <a:pt x="1217" y="2547"/>
                    </a:cubicBezTo>
                    <a:cubicBezTo>
                      <a:pt x="991" y="2322"/>
                      <a:pt x="765" y="2098"/>
                      <a:pt x="538" y="1873"/>
                    </a:cubicBezTo>
                    <a:cubicBezTo>
                      <a:pt x="502" y="1836"/>
                      <a:pt x="464" y="1802"/>
                      <a:pt x="430" y="1763"/>
                    </a:cubicBezTo>
                    <a:cubicBezTo>
                      <a:pt x="299" y="1617"/>
                      <a:pt x="370" y="1377"/>
                      <a:pt x="558" y="1324"/>
                    </a:cubicBezTo>
                    <a:cubicBezTo>
                      <a:pt x="662" y="1295"/>
                      <a:pt x="755" y="1318"/>
                      <a:pt x="831" y="1395"/>
                    </a:cubicBezTo>
                    <a:cubicBezTo>
                      <a:pt x="1104" y="1666"/>
                      <a:pt x="1375" y="1938"/>
                      <a:pt x="1647" y="2210"/>
                    </a:cubicBezTo>
                    <a:cubicBezTo>
                      <a:pt x="1742" y="2305"/>
                      <a:pt x="1822" y="2412"/>
                      <a:pt x="1881" y="2533"/>
                    </a:cubicBezTo>
                    <a:cubicBezTo>
                      <a:pt x="1930" y="2633"/>
                      <a:pt x="1962" y="2738"/>
                      <a:pt x="1980" y="2848"/>
                    </a:cubicBezTo>
                    <a:cubicBezTo>
                      <a:pt x="1999" y="2958"/>
                      <a:pt x="2001" y="3068"/>
                      <a:pt x="2000" y="3179"/>
                    </a:cubicBezTo>
                    <a:cubicBezTo>
                      <a:pt x="1999" y="3369"/>
                      <a:pt x="1997" y="3558"/>
                      <a:pt x="1995" y="3748"/>
                    </a:cubicBezTo>
                    <a:cubicBezTo>
                      <a:pt x="1995" y="3779"/>
                      <a:pt x="1995" y="3811"/>
                      <a:pt x="1995" y="3842"/>
                    </a:cubicBezTo>
                    <a:cubicBezTo>
                      <a:pt x="1995" y="3847"/>
                      <a:pt x="1994" y="3852"/>
                      <a:pt x="1994" y="3858"/>
                    </a:cubicBezTo>
                    <a:cubicBezTo>
                      <a:pt x="1693" y="3858"/>
                      <a:pt x="1393" y="3858"/>
                      <a:pt x="1091" y="3858"/>
                    </a:cubicBezTo>
                    <a:cubicBezTo>
                      <a:pt x="1091" y="3851"/>
                      <a:pt x="1091" y="3845"/>
                      <a:pt x="1091" y="3839"/>
                    </a:cubicBezTo>
                    <a:cubicBezTo>
                      <a:pt x="1091" y="3669"/>
                      <a:pt x="1091" y="3499"/>
                      <a:pt x="1091" y="3329"/>
                    </a:cubicBezTo>
                    <a:cubicBezTo>
                      <a:pt x="1091" y="3318"/>
                      <a:pt x="1089" y="3310"/>
                      <a:pt x="1082" y="3302"/>
                    </a:cubicBezTo>
                    <a:cubicBezTo>
                      <a:pt x="968" y="3171"/>
                      <a:pt x="854" y="3040"/>
                      <a:pt x="741" y="2909"/>
                    </a:cubicBezTo>
                    <a:cubicBezTo>
                      <a:pt x="643" y="2796"/>
                      <a:pt x="546" y="2683"/>
                      <a:pt x="448" y="2572"/>
                    </a:cubicBezTo>
                    <a:cubicBezTo>
                      <a:pt x="346" y="2455"/>
                      <a:pt x="243" y="2339"/>
                      <a:pt x="139" y="2225"/>
                    </a:cubicBezTo>
                    <a:cubicBezTo>
                      <a:pt x="64" y="2143"/>
                      <a:pt x="25" y="2047"/>
                      <a:pt x="12" y="1938"/>
                    </a:cubicBezTo>
                    <a:cubicBezTo>
                      <a:pt x="3" y="1868"/>
                      <a:pt x="0" y="1797"/>
                      <a:pt x="0" y="1726"/>
                    </a:cubicBezTo>
                    <a:cubicBezTo>
                      <a:pt x="0" y="1256"/>
                      <a:pt x="0" y="786"/>
                      <a:pt x="0" y="316"/>
                    </a:cubicBezTo>
                    <a:cubicBezTo>
                      <a:pt x="0" y="196"/>
                      <a:pt x="73" y="93"/>
                      <a:pt x="184" y="55"/>
                    </a:cubicBezTo>
                    <a:cubicBezTo>
                      <a:pt x="345" y="0"/>
                      <a:pt x="516" y="103"/>
                      <a:pt x="542" y="271"/>
                    </a:cubicBezTo>
                    <a:cubicBezTo>
                      <a:pt x="545" y="286"/>
                      <a:pt x="546" y="302"/>
                      <a:pt x="546" y="317"/>
                    </a:cubicBezTo>
                    <a:cubicBezTo>
                      <a:pt x="546" y="587"/>
                      <a:pt x="546" y="857"/>
                      <a:pt x="546" y="1127"/>
                    </a:cubicBezTo>
                    <a:cubicBezTo>
                      <a:pt x="546" y="1131"/>
                      <a:pt x="546" y="1136"/>
                      <a:pt x="546" y="11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32" name="Freeform 19"/>
              <p:cNvSpPr>
                <a:spLocks/>
              </p:cNvSpPr>
              <p:nvPr/>
            </p:nvSpPr>
            <p:spPr bwMode="auto">
              <a:xfrm>
                <a:off x="-2194691" y="5258149"/>
                <a:ext cx="2049460" cy="3932237"/>
              </a:xfrm>
              <a:custGeom>
                <a:avLst/>
                <a:gdLst>
                  <a:gd name="T0" fmla="*/ 909 w 2001"/>
                  <a:gd name="T1" fmla="*/ 3842 h 3842"/>
                  <a:gd name="T2" fmla="*/ 6 w 2001"/>
                  <a:gd name="T3" fmla="*/ 3842 h 3842"/>
                  <a:gd name="T4" fmla="*/ 6 w 2001"/>
                  <a:gd name="T5" fmla="*/ 3797 h 3842"/>
                  <a:gd name="T6" fmla="*/ 1 w 2001"/>
                  <a:gd name="T7" fmla="*/ 3055 h 3842"/>
                  <a:gd name="T8" fmla="*/ 81 w 2001"/>
                  <a:gd name="T9" fmla="*/ 2604 h 3842"/>
                  <a:gd name="T10" fmla="*/ 319 w 2001"/>
                  <a:gd name="T11" fmla="*/ 2230 h 3842"/>
                  <a:gd name="T12" fmla="*/ 776 w 2001"/>
                  <a:gd name="T13" fmla="*/ 1771 h 3842"/>
                  <a:gd name="T14" fmla="*/ 1166 w 2001"/>
                  <a:gd name="T15" fmla="*/ 1381 h 3842"/>
                  <a:gd name="T16" fmla="*/ 1369 w 2001"/>
                  <a:gd name="T17" fmla="*/ 1296 h 3842"/>
                  <a:gd name="T18" fmla="*/ 1635 w 2001"/>
                  <a:gd name="T19" fmla="*/ 1543 h 3842"/>
                  <a:gd name="T20" fmla="*/ 1555 w 2001"/>
                  <a:gd name="T21" fmla="*/ 1764 h 3842"/>
                  <a:gd name="T22" fmla="*/ 1161 w 2001"/>
                  <a:gd name="T23" fmla="*/ 2156 h 3842"/>
                  <a:gd name="T24" fmla="*/ 783 w 2001"/>
                  <a:gd name="T25" fmla="*/ 2531 h 3842"/>
                  <a:gd name="T26" fmla="*/ 774 w 2001"/>
                  <a:gd name="T27" fmla="*/ 2541 h 3842"/>
                  <a:gd name="T28" fmla="*/ 825 w 2001"/>
                  <a:gd name="T29" fmla="*/ 2541 h 3842"/>
                  <a:gd name="T30" fmla="*/ 1040 w 2001"/>
                  <a:gd name="T31" fmla="*/ 2502 h 3842"/>
                  <a:gd name="T32" fmla="*/ 1166 w 2001"/>
                  <a:gd name="T33" fmla="*/ 2421 h 3842"/>
                  <a:gd name="T34" fmla="*/ 1650 w 2001"/>
                  <a:gd name="T35" fmla="*/ 1937 h 3842"/>
                  <a:gd name="T36" fmla="*/ 1765 w 2001"/>
                  <a:gd name="T37" fmla="*/ 1796 h 3842"/>
                  <a:gd name="T38" fmla="*/ 1814 w 2001"/>
                  <a:gd name="T39" fmla="*/ 1640 h 3842"/>
                  <a:gd name="T40" fmla="*/ 1816 w 2001"/>
                  <a:gd name="T41" fmla="*/ 1512 h 3842"/>
                  <a:gd name="T42" fmla="*/ 1721 w 2001"/>
                  <a:gd name="T43" fmla="*/ 1288 h 3842"/>
                  <a:gd name="T44" fmla="*/ 1501 w 2001"/>
                  <a:gd name="T45" fmla="*/ 1136 h 3842"/>
                  <a:gd name="T46" fmla="*/ 1456 w 2001"/>
                  <a:gd name="T47" fmla="*/ 1125 h 3842"/>
                  <a:gd name="T48" fmla="*/ 1455 w 2001"/>
                  <a:gd name="T49" fmla="*/ 1111 h 3842"/>
                  <a:gd name="T50" fmla="*/ 1455 w 2001"/>
                  <a:gd name="T51" fmla="*/ 291 h 3842"/>
                  <a:gd name="T52" fmla="*/ 1672 w 2001"/>
                  <a:gd name="T53" fmla="*/ 30 h 3842"/>
                  <a:gd name="T54" fmla="*/ 1997 w 2001"/>
                  <a:gd name="T55" fmla="*/ 253 h 3842"/>
                  <a:gd name="T56" fmla="*/ 2000 w 2001"/>
                  <a:gd name="T57" fmla="*/ 304 h 3842"/>
                  <a:gd name="T58" fmla="*/ 2000 w 2001"/>
                  <a:gd name="T59" fmla="*/ 1717 h 3842"/>
                  <a:gd name="T60" fmla="*/ 1983 w 2001"/>
                  <a:gd name="T61" fmla="*/ 1962 h 3842"/>
                  <a:gd name="T62" fmla="*/ 1852 w 2001"/>
                  <a:gd name="T63" fmla="*/ 2220 h 3842"/>
                  <a:gd name="T64" fmla="*/ 1360 w 2001"/>
                  <a:gd name="T65" fmla="*/ 2777 h 3842"/>
                  <a:gd name="T66" fmla="*/ 920 w 2001"/>
                  <a:gd name="T67" fmla="*/ 3284 h 3842"/>
                  <a:gd name="T68" fmla="*/ 909 w 2001"/>
                  <a:gd name="T69" fmla="*/ 3314 h 3842"/>
                  <a:gd name="T70" fmla="*/ 909 w 2001"/>
                  <a:gd name="T71" fmla="*/ 3823 h 3842"/>
                  <a:gd name="T72" fmla="*/ 909 w 2001"/>
                  <a:gd name="T73" fmla="*/ 3842 h 38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001" h="3842">
                    <a:moveTo>
                      <a:pt x="909" y="3842"/>
                    </a:moveTo>
                    <a:cubicBezTo>
                      <a:pt x="608" y="3842"/>
                      <a:pt x="308" y="3842"/>
                      <a:pt x="6" y="3842"/>
                    </a:cubicBezTo>
                    <a:cubicBezTo>
                      <a:pt x="6" y="3827"/>
                      <a:pt x="6" y="3812"/>
                      <a:pt x="6" y="3797"/>
                    </a:cubicBezTo>
                    <a:cubicBezTo>
                      <a:pt x="4" y="3550"/>
                      <a:pt x="0" y="3302"/>
                      <a:pt x="1" y="3055"/>
                    </a:cubicBezTo>
                    <a:cubicBezTo>
                      <a:pt x="1" y="2900"/>
                      <a:pt x="26" y="2749"/>
                      <a:pt x="81" y="2604"/>
                    </a:cubicBezTo>
                    <a:cubicBezTo>
                      <a:pt x="135" y="2464"/>
                      <a:pt x="214" y="2338"/>
                      <a:pt x="319" y="2230"/>
                    </a:cubicBezTo>
                    <a:cubicBezTo>
                      <a:pt x="470" y="2076"/>
                      <a:pt x="624" y="1924"/>
                      <a:pt x="776" y="1771"/>
                    </a:cubicBezTo>
                    <a:cubicBezTo>
                      <a:pt x="906" y="1641"/>
                      <a:pt x="1036" y="1511"/>
                      <a:pt x="1166" y="1381"/>
                    </a:cubicBezTo>
                    <a:cubicBezTo>
                      <a:pt x="1222" y="1324"/>
                      <a:pt x="1290" y="1296"/>
                      <a:pt x="1369" y="1296"/>
                    </a:cubicBezTo>
                    <a:cubicBezTo>
                      <a:pt x="1507" y="1298"/>
                      <a:pt x="1623" y="1406"/>
                      <a:pt x="1635" y="1543"/>
                    </a:cubicBezTo>
                    <a:cubicBezTo>
                      <a:pt x="1643" y="1629"/>
                      <a:pt x="1616" y="1703"/>
                      <a:pt x="1555" y="1764"/>
                    </a:cubicBezTo>
                    <a:cubicBezTo>
                      <a:pt x="1424" y="1895"/>
                      <a:pt x="1293" y="2025"/>
                      <a:pt x="1161" y="2156"/>
                    </a:cubicBezTo>
                    <a:cubicBezTo>
                      <a:pt x="1035" y="2281"/>
                      <a:pt x="909" y="2406"/>
                      <a:pt x="783" y="2531"/>
                    </a:cubicBezTo>
                    <a:cubicBezTo>
                      <a:pt x="781" y="2533"/>
                      <a:pt x="779" y="2536"/>
                      <a:pt x="774" y="2541"/>
                    </a:cubicBezTo>
                    <a:cubicBezTo>
                      <a:pt x="793" y="2541"/>
                      <a:pt x="809" y="2542"/>
                      <a:pt x="825" y="2541"/>
                    </a:cubicBezTo>
                    <a:cubicBezTo>
                      <a:pt x="898" y="2538"/>
                      <a:pt x="971" y="2528"/>
                      <a:pt x="1040" y="2502"/>
                    </a:cubicBezTo>
                    <a:cubicBezTo>
                      <a:pt x="1088" y="2484"/>
                      <a:pt x="1130" y="2458"/>
                      <a:pt x="1166" y="2421"/>
                    </a:cubicBezTo>
                    <a:cubicBezTo>
                      <a:pt x="1327" y="2259"/>
                      <a:pt x="1489" y="2099"/>
                      <a:pt x="1650" y="1937"/>
                    </a:cubicBezTo>
                    <a:cubicBezTo>
                      <a:pt x="1693" y="1894"/>
                      <a:pt x="1733" y="1848"/>
                      <a:pt x="1765" y="1796"/>
                    </a:cubicBezTo>
                    <a:cubicBezTo>
                      <a:pt x="1795" y="1748"/>
                      <a:pt x="1810" y="1696"/>
                      <a:pt x="1814" y="1640"/>
                    </a:cubicBezTo>
                    <a:cubicBezTo>
                      <a:pt x="1818" y="1598"/>
                      <a:pt x="1819" y="1554"/>
                      <a:pt x="1816" y="1512"/>
                    </a:cubicBezTo>
                    <a:cubicBezTo>
                      <a:pt x="1809" y="1427"/>
                      <a:pt x="1775" y="1353"/>
                      <a:pt x="1721" y="1288"/>
                    </a:cubicBezTo>
                    <a:cubicBezTo>
                      <a:pt x="1661" y="1218"/>
                      <a:pt x="1589" y="1165"/>
                      <a:pt x="1501" y="1136"/>
                    </a:cubicBezTo>
                    <a:cubicBezTo>
                      <a:pt x="1486" y="1131"/>
                      <a:pt x="1472" y="1129"/>
                      <a:pt x="1456" y="1125"/>
                    </a:cubicBezTo>
                    <a:cubicBezTo>
                      <a:pt x="1456" y="1121"/>
                      <a:pt x="1455" y="1116"/>
                      <a:pt x="1455" y="1111"/>
                    </a:cubicBezTo>
                    <a:cubicBezTo>
                      <a:pt x="1455" y="838"/>
                      <a:pt x="1455" y="564"/>
                      <a:pt x="1455" y="291"/>
                    </a:cubicBezTo>
                    <a:cubicBezTo>
                      <a:pt x="1455" y="167"/>
                      <a:pt x="1550" y="53"/>
                      <a:pt x="1672" y="30"/>
                    </a:cubicBezTo>
                    <a:cubicBezTo>
                      <a:pt x="1827" y="0"/>
                      <a:pt x="1969" y="98"/>
                      <a:pt x="1997" y="253"/>
                    </a:cubicBezTo>
                    <a:cubicBezTo>
                      <a:pt x="2000" y="270"/>
                      <a:pt x="2000" y="287"/>
                      <a:pt x="2000" y="304"/>
                    </a:cubicBezTo>
                    <a:cubicBezTo>
                      <a:pt x="2001" y="775"/>
                      <a:pt x="2001" y="1246"/>
                      <a:pt x="2000" y="1717"/>
                    </a:cubicBezTo>
                    <a:cubicBezTo>
                      <a:pt x="2000" y="1799"/>
                      <a:pt x="1996" y="1881"/>
                      <a:pt x="1983" y="1962"/>
                    </a:cubicBezTo>
                    <a:cubicBezTo>
                      <a:pt x="1966" y="2061"/>
                      <a:pt x="1920" y="2145"/>
                      <a:pt x="1852" y="2220"/>
                    </a:cubicBezTo>
                    <a:cubicBezTo>
                      <a:pt x="1687" y="2404"/>
                      <a:pt x="1523" y="2590"/>
                      <a:pt x="1360" y="2777"/>
                    </a:cubicBezTo>
                    <a:cubicBezTo>
                      <a:pt x="1213" y="2945"/>
                      <a:pt x="1067" y="3115"/>
                      <a:pt x="920" y="3284"/>
                    </a:cubicBezTo>
                    <a:cubicBezTo>
                      <a:pt x="912" y="3293"/>
                      <a:pt x="909" y="3302"/>
                      <a:pt x="909" y="3314"/>
                    </a:cubicBezTo>
                    <a:cubicBezTo>
                      <a:pt x="909" y="3483"/>
                      <a:pt x="909" y="3653"/>
                      <a:pt x="909" y="3823"/>
                    </a:cubicBezTo>
                    <a:cubicBezTo>
                      <a:pt x="909" y="3829"/>
                      <a:pt x="909" y="3835"/>
                      <a:pt x="909" y="38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</p:grpSp>
      </p:grpSp>
      <p:grpSp>
        <p:nvGrpSpPr>
          <p:cNvPr id="33" name="Группа 45"/>
          <p:cNvGrpSpPr/>
          <p:nvPr/>
        </p:nvGrpSpPr>
        <p:grpSpPr>
          <a:xfrm>
            <a:off x="4348201" y="1309662"/>
            <a:ext cx="2509799" cy="2246084"/>
            <a:chOff x="132904" y="4754736"/>
            <a:chExt cx="2081088" cy="1512168"/>
          </a:xfrm>
        </p:grpSpPr>
        <p:sp>
          <p:nvSpPr>
            <p:cNvPr id="34" name="Скругленный прямоугольник 33"/>
            <p:cNvSpPr/>
            <p:nvPr/>
          </p:nvSpPr>
          <p:spPr>
            <a:xfrm>
              <a:off x="171004" y="4754736"/>
              <a:ext cx="2016224" cy="1512168"/>
            </a:xfrm>
            <a:prstGeom prst="roundRect">
              <a:avLst/>
            </a:prstGeom>
            <a:noFill/>
            <a:ln w="73025">
              <a:solidFill>
                <a:srgbClr val="E29C9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132904" y="4856460"/>
              <a:ext cx="2081088" cy="66255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Поддержка ветеранов, инвалидов, граждан</a:t>
              </a:r>
              <a:r>
                <a:rPr lang="en-US" dirty="0" smtClean="0"/>
                <a:t> </a:t>
              </a:r>
              <a:r>
                <a:rPr lang="ru-RU" dirty="0" smtClean="0"/>
                <a:t>пожилого возраста </a:t>
              </a:r>
              <a:endParaRPr lang="ru-RU" dirty="0"/>
            </a:p>
          </p:txBody>
        </p:sp>
        <p:sp>
          <p:nvSpPr>
            <p:cNvPr id="36" name="Скругленный прямоугольник 35"/>
            <p:cNvSpPr/>
            <p:nvPr/>
          </p:nvSpPr>
          <p:spPr>
            <a:xfrm>
              <a:off x="635392" y="5737990"/>
              <a:ext cx="1015144" cy="314993"/>
            </a:xfrm>
            <a:prstGeom prst="roundRect">
              <a:avLst>
                <a:gd name="adj" fmla="val 31566"/>
              </a:avLst>
            </a:prstGeom>
            <a:solidFill>
              <a:srgbClr val="CC535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b="1" dirty="0" smtClean="0"/>
                <a:t>149,5</a:t>
              </a:r>
              <a:endParaRPr lang="ru-RU" dirty="0"/>
            </a:p>
          </p:txBody>
        </p:sp>
      </p:grpSp>
      <p:cxnSp>
        <p:nvCxnSpPr>
          <p:cNvPr id="37" name="Прямая соединительная линия 36"/>
          <p:cNvCxnSpPr/>
          <p:nvPr/>
        </p:nvCxnSpPr>
        <p:spPr>
          <a:xfrm flipV="1">
            <a:off x="4857760" y="3597266"/>
            <a:ext cx="714380" cy="641354"/>
          </a:xfrm>
          <a:prstGeom prst="line">
            <a:avLst/>
          </a:prstGeom>
          <a:ln w="82550" cap="rnd">
            <a:solidFill>
              <a:srgbClr val="E29C9A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" name="Группа 22"/>
          <p:cNvGrpSpPr/>
          <p:nvPr/>
        </p:nvGrpSpPr>
        <p:grpSpPr>
          <a:xfrm>
            <a:off x="2000240" y="4810124"/>
            <a:ext cx="1009476" cy="1285884"/>
            <a:chOff x="6763979" y="3789040"/>
            <a:chExt cx="1060216" cy="1067082"/>
          </a:xfrm>
        </p:grpSpPr>
        <p:sp>
          <p:nvSpPr>
            <p:cNvPr id="39" name="Прямоугольник 38"/>
            <p:cNvSpPr/>
            <p:nvPr/>
          </p:nvSpPr>
          <p:spPr>
            <a:xfrm>
              <a:off x="6851630" y="4424074"/>
              <a:ext cx="952507" cy="432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16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56%</a:t>
              </a:r>
            </a:p>
          </p:txBody>
        </p:sp>
        <p:grpSp>
          <p:nvGrpSpPr>
            <p:cNvPr id="40" name="Группа 34"/>
            <p:cNvGrpSpPr/>
            <p:nvPr/>
          </p:nvGrpSpPr>
          <p:grpSpPr>
            <a:xfrm>
              <a:off x="6763979" y="3789040"/>
              <a:ext cx="1060216" cy="635035"/>
              <a:chOff x="9426304" y="3495733"/>
              <a:chExt cx="1844676" cy="1473200"/>
            </a:xfrm>
            <a:solidFill>
              <a:schemeClr val="tx1">
                <a:lumMod val="85000"/>
                <a:lumOff val="15000"/>
              </a:schemeClr>
            </a:solidFill>
          </p:grpSpPr>
          <p:sp>
            <p:nvSpPr>
              <p:cNvPr id="41" name="Freeform 27"/>
              <p:cNvSpPr>
                <a:spLocks/>
              </p:cNvSpPr>
              <p:nvPr/>
            </p:nvSpPr>
            <p:spPr bwMode="auto">
              <a:xfrm>
                <a:off x="9426304" y="3795771"/>
                <a:ext cx="765176" cy="1173162"/>
              </a:xfrm>
              <a:custGeom>
                <a:avLst/>
                <a:gdLst>
                  <a:gd name="T0" fmla="*/ 674 w 991"/>
                  <a:gd name="T1" fmla="*/ 344 h 1522"/>
                  <a:gd name="T2" fmla="*/ 674 w 991"/>
                  <a:gd name="T3" fmla="*/ 369 h 1522"/>
                  <a:gd name="T4" fmla="*/ 689 w 991"/>
                  <a:gd name="T5" fmla="*/ 1244 h 1522"/>
                  <a:gd name="T6" fmla="*/ 691 w 991"/>
                  <a:gd name="T7" fmla="*/ 1412 h 1522"/>
                  <a:gd name="T8" fmla="*/ 603 w 991"/>
                  <a:gd name="T9" fmla="*/ 1502 h 1522"/>
                  <a:gd name="T10" fmla="*/ 512 w 991"/>
                  <a:gd name="T11" fmla="*/ 1417 h 1522"/>
                  <a:gd name="T12" fmla="*/ 512 w 991"/>
                  <a:gd name="T13" fmla="*/ 1215 h 1522"/>
                  <a:gd name="T14" fmla="*/ 506 w 991"/>
                  <a:gd name="T15" fmla="*/ 833 h 1522"/>
                  <a:gd name="T16" fmla="*/ 495 w 991"/>
                  <a:gd name="T17" fmla="*/ 749 h 1522"/>
                  <a:gd name="T18" fmla="*/ 485 w 991"/>
                  <a:gd name="T19" fmla="*/ 749 h 1522"/>
                  <a:gd name="T20" fmla="*/ 476 w 991"/>
                  <a:gd name="T21" fmla="*/ 793 h 1522"/>
                  <a:gd name="T22" fmla="*/ 465 w 991"/>
                  <a:gd name="T23" fmla="*/ 1107 h 1522"/>
                  <a:gd name="T24" fmla="*/ 466 w 991"/>
                  <a:gd name="T25" fmla="*/ 1409 h 1522"/>
                  <a:gd name="T26" fmla="*/ 336 w 991"/>
                  <a:gd name="T27" fmla="*/ 1493 h 1522"/>
                  <a:gd name="T28" fmla="*/ 287 w 991"/>
                  <a:gd name="T29" fmla="*/ 1412 h 1522"/>
                  <a:gd name="T30" fmla="*/ 290 w 991"/>
                  <a:gd name="T31" fmla="*/ 1102 h 1522"/>
                  <a:gd name="T32" fmla="*/ 304 w 991"/>
                  <a:gd name="T33" fmla="*/ 359 h 1522"/>
                  <a:gd name="T34" fmla="*/ 300 w 991"/>
                  <a:gd name="T35" fmla="*/ 341 h 1522"/>
                  <a:gd name="T36" fmla="*/ 249 w 991"/>
                  <a:gd name="T37" fmla="*/ 420 h 1522"/>
                  <a:gd name="T38" fmla="*/ 130 w 991"/>
                  <a:gd name="T39" fmla="*/ 605 h 1522"/>
                  <a:gd name="T40" fmla="*/ 64 w 991"/>
                  <a:gd name="T41" fmla="*/ 642 h 1522"/>
                  <a:gd name="T42" fmla="*/ 3 w 991"/>
                  <a:gd name="T43" fmla="*/ 592 h 1522"/>
                  <a:gd name="T44" fmla="*/ 9 w 991"/>
                  <a:gd name="T45" fmla="*/ 543 h 1522"/>
                  <a:gd name="T46" fmla="*/ 235 w 991"/>
                  <a:gd name="T47" fmla="*/ 131 h 1522"/>
                  <a:gd name="T48" fmla="*/ 273 w 991"/>
                  <a:gd name="T49" fmla="*/ 77 h 1522"/>
                  <a:gd name="T50" fmla="*/ 432 w 991"/>
                  <a:gd name="T51" fmla="*/ 10 h 1522"/>
                  <a:gd name="T52" fmla="*/ 537 w 991"/>
                  <a:gd name="T53" fmla="*/ 11 h 1522"/>
                  <a:gd name="T54" fmla="*/ 715 w 991"/>
                  <a:gd name="T55" fmla="*/ 91 h 1522"/>
                  <a:gd name="T56" fmla="*/ 827 w 991"/>
                  <a:gd name="T57" fmla="*/ 283 h 1522"/>
                  <a:gd name="T58" fmla="*/ 966 w 991"/>
                  <a:gd name="T59" fmla="*/ 539 h 1522"/>
                  <a:gd name="T60" fmla="*/ 922 w 991"/>
                  <a:gd name="T61" fmla="*/ 640 h 1522"/>
                  <a:gd name="T62" fmla="*/ 851 w 991"/>
                  <a:gd name="T63" fmla="*/ 610 h 1522"/>
                  <a:gd name="T64" fmla="*/ 695 w 991"/>
                  <a:gd name="T65" fmla="*/ 367 h 1522"/>
                  <a:gd name="T66" fmla="*/ 679 w 991"/>
                  <a:gd name="T67" fmla="*/ 343 h 1522"/>
                  <a:gd name="T68" fmla="*/ 674 w 991"/>
                  <a:gd name="T69" fmla="*/ 344 h 15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991" h="1522">
                    <a:moveTo>
                      <a:pt x="674" y="344"/>
                    </a:moveTo>
                    <a:cubicBezTo>
                      <a:pt x="674" y="352"/>
                      <a:pt x="674" y="360"/>
                      <a:pt x="674" y="369"/>
                    </a:cubicBezTo>
                    <a:cubicBezTo>
                      <a:pt x="679" y="661"/>
                      <a:pt x="684" y="952"/>
                      <a:pt x="689" y="1244"/>
                    </a:cubicBezTo>
                    <a:cubicBezTo>
                      <a:pt x="690" y="1300"/>
                      <a:pt x="691" y="1356"/>
                      <a:pt x="691" y="1412"/>
                    </a:cubicBezTo>
                    <a:cubicBezTo>
                      <a:pt x="691" y="1464"/>
                      <a:pt x="655" y="1501"/>
                      <a:pt x="603" y="1502"/>
                    </a:cubicBezTo>
                    <a:cubicBezTo>
                      <a:pt x="553" y="1504"/>
                      <a:pt x="513" y="1468"/>
                      <a:pt x="512" y="1417"/>
                    </a:cubicBezTo>
                    <a:cubicBezTo>
                      <a:pt x="510" y="1349"/>
                      <a:pt x="513" y="1282"/>
                      <a:pt x="512" y="1215"/>
                    </a:cubicBezTo>
                    <a:cubicBezTo>
                      <a:pt x="511" y="1088"/>
                      <a:pt x="509" y="960"/>
                      <a:pt x="506" y="833"/>
                    </a:cubicBezTo>
                    <a:cubicBezTo>
                      <a:pt x="505" y="805"/>
                      <a:pt x="499" y="777"/>
                      <a:pt x="495" y="749"/>
                    </a:cubicBezTo>
                    <a:cubicBezTo>
                      <a:pt x="492" y="749"/>
                      <a:pt x="488" y="749"/>
                      <a:pt x="485" y="749"/>
                    </a:cubicBezTo>
                    <a:cubicBezTo>
                      <a:pt x="482" y="764"/>
                      <a:pt x="476" y="778"/>
                      <a:pt x="476" y="793"/>
                    </a:cubicBezTo>
                    <a:cubicBezTo>
                      <a:pt x="471" y="898"/>
                      <a:pt x="467" y="1002"/>
                      <a:pt x="465" y="1107"/>
                    </a:cubicBezTo>
                    <a:cubicBezTo>
                      <a:pt x="464" y="1207"/>
                      <a:pt x="467" y="1308"/>
                      <a:pt x="466" y="1409"/>
                    </a:cubicBezTo>
                    <a:cubicBezTo>
                      <a:pt x="466" y="1481"/>
                      <a:pt x="402" y="1522"/>
                      <a:pt x="336" y="1493"/>
                    </a:cubicBezTo>
                    <a:cubicBezTo>
                      <a:pt x="301" y="1477"/>
                      <a:pt x="287" y="1449"/>
                      <a:pt x="287" y="1412"/>
                    </a:cubicBezTo>
                    <a:cubicBezTo>
                      <a:pt x="288" y="1309"/>
                      <a:pt x="289" y="1206"/>
                      <a:pt x="290" y="1102"/>
                    </a:cubicBezTo>
                    <a:cubicBezTo>
                      <a:pt x="295" y="854"/>
                      <a:pt x="300" y="607"/>
                      <a:pt x="304" y="359"/>
                    </a:cubicBezTo>
                    <a:cubicBezTo>
                      <a:pt x="304" y="353"/>
                      <a:pt x="304" y="347"/>
                      <a:pt x="300" y="341"/>
                    </a:cubicBezTo>
                    <a:cubicBezTo>
                      <a:pt x="283" y="367"/>
                      <a:pt x="266" y="394"/>
                      <a:pt x="249" y="420"/>
                    </a:cubicBezTo>
                    <a:cubicBezTo>
                      <a:pt x="209" y="482"/>
                      <a:pt x="169" y="544"/>
                      <a:pt x="130" y="605"/>
                    </a:cubicBezTo>
                    <a:cubicBezTo>
                      <a:pt x="115" y="630"/>
                      <a:pt x="93" y="645"/>
                      <a:pt x="64" y="642"/>
                    </a:cubicBezTo>
                    <a:cubicBezTo>
                      <a:pt x="34" y="638"/>
                      <a:pt x="9" y="623"/>
                      <a:pt x="3" y="592"/>
                    </a:cubicBezTo>
                    <a:cubicBezTo>
                      <a:pt x="0" y="577"/>
                      <a:pt x="2" y="557"/>
                      <a:pt x="9" y="543"/>
                    </a:cubicBezTo>
                    <a:cubicBezTo>
                      <a:pt x="84" y="405"/>
                      <a:pt x="159" y="268"/>
                      <a:pt x="235" y="131"/>
                    </a:cubicBezTo>
                    <a:cubicBezTo>
                      <a:pt x="246" y="112"/>
                      <a:pt x="259" y="95"/>
                      <a:pt x="273" y="77"/>
                    </a:cubicBezTo>
                    <a:cubicBezTo>
                      <a:pt x="313" y="25"/>
                      <a:pt x="365" y="2"/>
                      <a:pt x="432" y="10"/>
                    </a:cubicBezTo>
                    <a:cubicBezTo>
                      <a:pt x="467" y="14"/>
                      <a:pt x="503" y="16"/>
                      <a:pt x="537" y="11"/>
                    </a:cubicBezTo>
                    <a:cubicBezTo>
                      <a:pt x="615" y="0"/>
                      <a:pt x="674" y="27"/>
                      <a:pt x="715" y="91"/>
                    </a:cubicBezTo>
                    <a:cubicBezTo>
                      <a:pt x="755" y="153"/>
                      <a:pt x="791" y="218"/>
                      <a:pt x="827" y="283"/>
                    </a:cubicBezTo>
                    <a:cubicBezTo>
                      <a:pt x="874" y="367"/>
                      <a:pt x="920" y="453"/>
                      <a:pt x="966" y="539"/>
                    </a:cubicBezTo>
                    <a:cubicBezTo>
                      <a:pt x="991" y="584"/>
                      <a:pt x="972" y="628"/>
                      <a:pt x="922" y="640"/>
                    </a:cubicBezTo>
                    <a:cubicBezTo>
                      <a:pt x="895" y="647"/>
                      <a:pt x="868" y="637"/>
                      <a:pt x="851" y="610"/>
                    </a:cubicBezTo>
                    <a:cubicBezTo>
                      <a:pt x="799" y="529"/>
                      <a:pt x="747" y="448"/>
                      <a:pt x="695" y="367"/>
                    </a:cubicBezTo>
                    <a:cubicBezTo>
                      <a:pt x="689" y="359"/>
                      <a:pt x="684" y="351"/>
                      <a:pt x="679" y="343"/>
                    </a:cubicBezTo>
                    <a:cubicBezTo>
                      <a:pt x="677" y="343"/>
                      <a:pt x="676" y="343"/>
                      <a:pt x="674" y="34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2" name="Freeform 28"/>
              <p:cNvSpPr>
                <a:spLocks/>
              </p:cNvSpPr>
              <p:nvPr/>
            </p:nvSpPr>
            <p:spPr bwMode="auto">
              <a:xfrm>
                <a:off x="10547080" y="3856092"/>
                <a:ext cx="723900" cy="1100136"/>
              </a:xfrm>
              <a:custGeom>
                <a:avLst/>
                <a:gdLst>
                  <a:gd name="T0" fmla="*/ 303 w 937"/>
                  <a:gd name="T1" fmla="*/ 263 h 1426"/>
                  <a:gd name="T2" fmla="*/ 243 w 937"/>
                  <a:gd name="T3" fmla="*/ 366 h 1426"/>
                  <a:gd name="T4" fmla="*/ 121 w 937"/>
                  <a:gd name="T5" fmla="*/ 575 h 1426"/>
                  <a:gd name="T6" fmla="*/ 57 w 937"/>
                  <a:gd name="T7" fmla="*/ 606 h 1426"/>
                  <a:gd name="T8" fmla="*/ 1 w 937"/>
                  <a:gd name="T9" fmla="*/ 552 h 1426"/>
                  <a:gd name="T10" fmla="*/ 9 w 937"/>
                  <a:gd name="T11" fmla="*/ 512 h 1426"/>
                  <a:gd name="T12" fmla="*/ 257 w 937"/>
                  <a:gd name="T13" fmla="*/ 94 h 1426"/>
                  <a:gd name="T14" fmla="*/ 341 w 937"/>
                  <a:gd name="T15" fmla="*/ 15 h 1426"/>
                  <a:gd name="T16" fmla="*/ 401 w 937"/>
                  <a:gd name="T17" fmla="*/ 6 h 1426"/>
                  <a:gd name="T18" fmla="*/ 515 w 937"/>
                  <a:gd name="T19" fmla="*/ 5 h 1426"/>
                  <a:gd name="T20" fmla="*/ 640 w 937"/>
                  <a:gd name="T21" fmla="*/ 56 h 1426"/>
                  <a:gd name="T22" fmla="*/ 728 w 937"/>
                  <a:gd name="T23" fmla="*/ 191 h 1426"/>
                  <a:gd name="T24" fmla="*/ 915 w 937"/>
                  <a:gd name="T25" fmla="*/ 505 h 1426"/>
                  <a:gd name="T26" fmla="*/ 895 w 937"/>
                  <a:gd name="T27" fmla="*/ 597 h 1426"/>
                  <a:gd name="T28" fmla="*/ 805 w 937"/>
                  <a:gd name="T29" fmla="*/ 572 h 1426"/>
                  <a:gd name="T30" fmla="*/ 631 w 937"/>
                  <a:gd name="T31" fmla="*/ 276 h 1426"/>
                  <a:gd name="T32" fmla="*/ 620 w 937"/>
                  <a:gd name="T33" fmla="*/ 260 h 1426"/>
                  <a:gd name="T34" fmla="*/ 615 w 937"/>
                  <a:gd name="T35" fmla="*/ 432 h 1426"/>
                  <a:gd name="T36" fmla="*/ 728 w 937"/>
                  <a:gd name="T37" fmla="*/ 756 h 1426"/>
                  <a:gd name="T38" fmla="*/ 698 w 937"/>
                  <a:gd name="T39" fmla="*/ 814 h 1426"/>
                  <a:gd name="T40" fmla="*/ 622 w 937"/>
                  <a:gd name="T41" fmla="*/ 814 h 1426"/>
                  <a:gd name="T42" fmla="*/ 622 w 937"/>
                  <a:gd name="T43" fmla="*/ 838 h 1426"/>
                  <a:gd name="T44" fmla="*/ 629 w 937"/>
                  <a:gd name="T45" fmla="*/ 1336 h 1426"/>
                  <a:gd name="T46" fmla="*/ 621 w 937"/>
                  <a:gd name="T47" fmla="*/ 1381 h 1426"/>
                  <a:gd name="T48" fmla="*/ 564 w 937"/>
                  <a:gd name="T49" fmla="*/ 1423 h 1426"/>
                  <a:gd name="T50" fmla="*/ 506 w 937"/>
                  <a:gd name="T51" fmla="*/ 1382 h 1426"/>
                  <a:gd name="T52" fmla="*/ 496 w 937"/>
                  <a:gd name="T53" fmla="*/ 1321 h 1426"/>
                  <a:gd name="T54" fmla="*/ 494 w 937"/>
                  <a:gd name="T55" fmla="*/ 841 h 1426"/>
                  <a:gd name="T56" fmla="*/ 494 w 937"/>
                  <a:gd name="T57" fmla="*/ 816 h 1426"/>
                  <a:gd name="T58" fmla="*/ 442 w 937"/>
                  <a:gd name="T59" fmla="*/ 817 h 1426"/>
                  <a:gd name="T60" fmla="*/ 433 w 937"/>
                  <a:gd name="T61" fmla="*/ 834 h 1426"/>
                  <a:gd name="T62" fmla="*/ 430 w 937"/>
                  <a:gd name="T63" fmla="*/ 1046 h 1426"/>
                  <a:gd name="T64" fmla="*/ 431 w 937"/>
                  <a:gd name="T65" fmla="*/ 1331 h 1426"/>
                  <a:gd name="T66" fmla="*/ 414 w 937"/>
                  <a:gd name="T67" fmla="*/ 1394 h 1426"/>
                  <a:gd name="T68" fmla="*/ 357 w 937"/>
                  <a:gd name="T69" fmla="*/ 1422 h 1426"/>
                  <a:gd name="T70" fmla="*/ 306 w 937"/>
                  <a:gd name="T71" fmla="*/ 1380 h 1426"/>
                  <a:gd name="T72" fmla="*/ 298 w 937"/>
                  <a:gd name="T73" fmla="*/ 1314 h 1426"/>
                  <a:gd name="T74" fmla="*/ 306 w 937"/>
                  <a:gd name="T75" fmla="*/ 842 h 1426"/>
                  <a:gd name="T76" fmla="*/ 306 w 937"/>
                  <a:gd name="T77" fmla="*/ 817 h 1426"/>
                  <a:gd name="T78" fmla="*/ 224 w 937"/>
                  <a:gd name="T79" fmla="*/ 813 h 1426"/>
                  <a:gd name="T80" fmla="*/ 197 w 937"/>
                  <a:gd name="T81" fmla="*/ 759 h 1426"/>
                  <a:gd name="T82" fmla="*/ 280 w 937"/>
                  <a:gd name="T83" fmla="*/ 578 h 1426"/>
                  <a:gd name="T84" fmla="*/ 310 w 937"/>
                  <a:gd name="T85" fmla="*/ 274 h 1426"/>
                  <a:gd name="T86" fmla="*/ 308 w 937"/>
                  <a:gd name="T87" fmla="*/ 265 h 1426"/>
                  <a:gd name="T88" fmla="*/ 303 w 937"/>
                  <a:gd name="T89" fmla="*/ 263 h 1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937" h="1426">
                    <a:moveTo>
                      <a:pt x="303" y="263"/>
                    </a:moveTo>
                    <a:cubicBezTo>
                      <a:pt x="283" y="298"/>
                      <a:pt x="263" y="332"/>
                      <a:pt x="243" y="366"/>
                    </a:cubicBezTo>
                    <a:cubicBezTo>
                      <a:pt x="202" y="436"/>
                      <a:pt x="162" y="505"/>
                      <a:pt x="121" y="575"/>
                    </a:cubicBezTo>
                    <a:cubicBezTo>
                      <a:pt x="106" y="600"/>
                      <a:pt x="82" y="611"/>
                      <a:pt x="57" y="606"/>
                    </a:cubicBezTo>
                    <a:cubicBezTo>
                      <a:pt x="27" y="600"/>
                      <a:pt x="4" y="580"/>
                      <a:pt x="1" y="552"/>
                    </a:cubicBezTo>
                    <a:cubicBezTo>
                      <a:pt x="0" y="539"/>
                      <a:pt x="2" y="523"/>
                      <a:pt x="9" y="512"/>
                    </a:cubicBezTo>
                    <a:cubicBezTo>
                      <a:pt x="91" y="372"/>
                      <a:pt x="173" y="233"/>
                      <a:pt x="257" y="94"/>
                    </a:cubicBezTo>
                    <a:cubicBezTo>
                      <a:pt x="277" y="61"/>
                      <a:pt x="302" y="29"/>
                      <a:pt x="341" y="15"/>
                    </a:cubicBezTo>
                    <a:cubicBezTo>
                      <a:pt x="360" y="8"/>
                      <a:pt x="381" y="6"/>
                      <a:pt x="401" y="6"/>
                    </a:cubicBezTo>
                    <a:cubicBezTo>
                      <a:pt x="439" y="5"/>
                      <a:pt x="477" y="10"/>
                      <a:pt x="515" y="5"/>
                    </a:cubicBezTo>
                    <a:cubicBezTo>
                      <a:pt x="567" y="0"/>
                      <a:pt x="610" y="16"/>
                      <a:pt x="640" y="56"/>
                    </a:cubicBezTo>
                    <a:cubicBezTo>
                      <a:pt x="672" y="99"/>
                      <a:pt x="700" y="145"/>
                      <a:pt x="728" y="191"/>
                    </a:cubicBezTo>
                    <a:cubicBezTo>
                      <a:pt x="791" y="295"/>
                      <a:pt x="853" y="400"/>
                      <a:pt x="915" y="505"/>
                    </a:cubicBezTo>
                    <a:cubicBezTo>
                      <a:pt x="937" y="541"/>
                      <a:pt x="928" y="577"/>
                      <a:pt x="895" y="597"/>
                    </a:cubicBezTo>
                    <a:cubicBezTo>
                      <a:pt x="860" y="617"/>
                      <a:pt x="827" y="608"/>
                      <a:pt x="805" y="572"/>
                    </a:cubicBezTo>
                    <a:cubicBezTo>
                      <a:pt x="747" y="473"/>
                      <a:pt x="689" y="374"/>
                      <a:pt x="631" y="276"/>
                    </a:cubicBezTo>
                    <a:cubicBezTo>
                      <a:pt x="629" y="271"/>
                      <a:pt x="626" y="268"/>
                      <a:pt x="620" y="260"/>
                    </a:cubicBezTo>
                    <a:cubicBezTo>
                      <a:pt x="609" y="320"/>
                      <a:pt x="609" y="376"/>
                      <a:pt x="615" y="432"/>
                    </a:cubicBezTo>
                    <a:cubicBezTo>
                      <a:pt x="628" y="549"/>
                      <a:pt x="669" y="656"/>
                      <a:pt x="728" y="756"/>
                    </a:cubicBezTo>
                    <a:cubicBezTo>
                      <a:pt x="754" y="799"/>
                      <a:pt x="749" y="809"/>
                      <a:pt x="698" y="814"/>
                    </a:cubicBezTo>
                    <a:cubicBezTo>
                      <a:pt x="674" y="816"/>
                      <a:pt x="649" y="814"/>
                      <a:pt x="622" y="814"/>
                    </a:cubicBezTo>
                    <a:cubicBezTo>
                      <a:pt x="622" y="824"/>
                      <a:pt x="622" y="831"/>
                      <a:pt x="622" y="838"/>
                    </a:cubicBezTo>
                    <a:cubicBezTo>
                      <a:pt x="624" y="1004"/>
                      <a:pt x="627" y="1170"/>
                      <a:pt x="629" y="1336"/>
                    </a:cubicBezTo>
                    <a:cubicBezTo>
                      <a:pt x="629" y="1351"/>
                      <a:pt x="626" y="1367"/>
                      <a:pt x="621" y="1381"/>
                    </a:cubicBezTo>
                    <a:cubicBezTo>
                      <a:pt x="613" y="1406"/>
                      <a:pt x="588" y="1423"/>
                      <a:pt x="564" y="1423"/>
                    </a:cubicBezTo>
                    <a:cubicBezTo>
                      <a:pt x="540" y="1423"/>
                      <a:pt x="513" y="1406"/>
                      <a:pt x="506" y="1382"/>
                    </a:cubicBezTo>
                    <a:cubicBezTo>
                      <a:pt x="499" y="1362"/>
                      <a:pt x="496" y="1341"/>
                      <a:pt x="496" y="1321"/>
                    </a:cubicBezTo>
                    <a:cubicBezTo>
                      <a:pt x="495" y="1161"/>
                      <a:pt x="495" y="1001"/>
                      <a:pt x="494" y="841"/>
                    </a:cubicBezTo>
                    <a:cubicBezTo>
                      <a:pt x="494" y="834"/>
                      <a:pt x="494" y="827"/>
                      <a:pt x="494" y="816"/>
                    </a:cubicBezTo>
                    <a:cubicBezTo>
                      <a:pt x="476" y="816"/>
                      <a:pt x="458" y="815"/>
                      <a:pt x="442" y="817"/>
                    </a:cubicBezTo>
                    <a:cubicBezTo>
                      <a:pt x="438" y="817"/>
                      <a:pt x="434" y="828"/>
                      <a:pt x="433" y="834"/>
                    </a:cubicBezTo>
                    <a:cubicBezTo>
                      <a:pt x="432" y="904"/>
                      <a:pt x="430" y="975"/>
                      <a:pt x="430" y="1046"/>
                    </a:cubicBezTo>
                    <a:cubicBezTo>
                      <a:pt x="430" y="1141"/>
                      <a:pt x="432" y="1236"/>
                      <a:pt x="431" y="1331"/>
                    </a:cubicBezTo>
                    <a:cubicBezTo>
                      <a:pt x="430" y="1352"/>
                      <a:pt x="424" y="1375"/>
                      <a:pt x="414" y="1394"/>
                    </a:cubicBezTo>
                    <a:cubicBezTo>
                      <a:pt x="404" y="1415"/>
                      <a:pt x="382" y="1426"/>
                      <a:pt x="357" y="1422"/>
                    </a:cubicBezTo>
                    <a:cubicBezTo>
                      <a:pt x="332" y="1419"/>
                      <a:pt x="313" y="1405"/>
                      <a:pt x="306" y="1380"/>
                    </a:cubicBezTo>
                    <a:cubicBezTo>
                      <a:pt x="300" y="1359"/>
                      <a:pt x="298" y="1336"/>
                      <a:pt x="298" y="1314"/>
                    </a:cubicBezTo>
                    <a:cubicBezTo>
                      <a:pt x="300" y="1156"/>
                      <a:pt x="303" y="999"/>
                      <a:pt x="306" y="842"/>
                    </a:cubicBezTo>
                    <a:cubicBezTo>
                      <a:pt x="306" y="834"/>
                      <a:pt x="306" y="826"/>
                      <a:pt x="306" y="817"/>
                    </a:cubicBezTo>
                    <a:cubicBezTo>
                      <a:pt x="277" y="816"/>
                      <a:pt x="251" y="816"/>
                      <a:pt x="224" y="813"/>
                    </a:cubicBezTo>
                    <a:cubicBezTo>
                      <a:pt x="179" y="808"/>
                      <a:pt x="174" y="799"/>
                      <a:pt x="197" y="759"/>
                    </a:cubicBezTo>
                    <a:cubicBezTo>
                      <a:pt x="231" y="701"/>
                      <a:pt x="260" y="642"/>
                      <a:pt x="280" y="578"/>
                    </a:cubicBezTo>
                    <a:cubicBezTo>
                      <a:pt x="311" y="479"/>
                      <a:pt x="326" y="378"/>
                      <a:pt x="310" y="274"/>
                    </a:cubicBezTo>
                    <a:cubicBezTo>
                      <a:pt x="310" y="271"/>
                      <a:pt x="309" y="268"/>
                      <a:pt x="308" y="265"/>
                    </a:cubicBezTo>
                    <a:cubicBezTo>
                      <a:pt x="307" y="265"/>
                      <a:pt x="305" y="264"/>
                      <a:pt x="303" y="26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3" name="Freeform 29"/>
              <p:cNvSpPr>
                <a:spLocks/>
              </p:cNvSpPr>
              <p:nvPr/>
            </p:nvSpPr>
            <p:spPr bwMode="auto">
              <a:xfrm>
                <a:off x="10080354" y="4214868"/>
                <a:ext cx="547688" cy="749298"/>
              </a:xfrm>
              <a:custGeom>
                <a:avLst/>
                <a:gdLst>
                  <a:gd name="T0" fmla="*/ 216 w 711"/>
                  <a:gd name="T1" fmla="*/ 204 h 971"/>
                  <a:gd name="T2" fmla="*/ 102 w 711"/>
                  <a:gd name="T3" fmla="*/ 381 h 971"/>
                  <a:gd name="T4" fmla="*/ 24 w 711"/>
                  <a:gd name="T5" fmla="*/ 395 h 971"/>
                  <a:gd name="T6" fmla="*/ 12 w 711"/>
                  <a:gd name="T7" fmla="*/ 343 h 971"/>
                  <a:gd name="T8" fmla="*/ 170 w 711"/>
                  <a:gd name="T9" fmla="*/ 79 h 971"/>
                  <a:gd name="T10" fmla="*/ 248 w 711"/>
                  <a:gd name="T11" fmla="*/ 10 h 971"/>
                  <a:gd name="T12" fmla="*/ 295 w 711"/>
                  <a:gd name="T13" fmla="*/ 4 h 971"/>
                  <a:gd name="T14" fmla="*/ 409 w 711"/>
                  <a:gd name="T15" fmla="*/ 4 h 971"/>
                  <a:gd name="T16" fmla="*/ 506 w 711"/>
                  <a:gd name="T17" fmla="*/ 39 h 971"/>
                  <a:gd name="T18" fmla="*/ 571 w 711"/>
                  <a:gd name="T19" fmla="*/ 128 h 971"/>
                  <a:gd name="T20" fmla="*/ 695 w 711"/>
                  <a:gd name="T21" fmla="*/ 335 h 971"/>
                  <a:gd name="T22" fmla="*/ 682 w 711"/>
                  <a:gd name="T23" fmla="*/ 398 h 971"/>
                  <a:gd name="T24" fmla="*/ 611 w 711"/>
                  <a:gd name="T25" fmla="*/ 384 h 971"/>
                  <a:gd name="T26" fmla="*/ 514 w 711"/>
                  <a:gd name="T27" fmla="*/ 234 h 971"/>
                  <a:gd name="T28" fmla="*/ 492 w 711"/>
                  <a:gd name="T29" fmla="*/ 204 h 971"/>
                  <a:gd name="T30" fmla="*/ 500 w 711"/>
                  <a:gd name="T31" fmla="*/ 298 h 971"/>
                  <a:gd name="T32" fmla="*/ 551 w 711"/>
                  <a:gd name="T33" fmla="*/ 449 h 971"/>
                  <a:gd name="T34" fmla="*/ 559 w 711"/>
                  <a:gd name="T35" fmla="*/ 488 h 971"/>
                  <a:gd name="T36" fmla="*/ 514 w 711"/>
                  <a:gd name="T37" fmla="*/ 546 h 971"/>
                  <a:gd name="T38" fmla="*/ 494 w 711"/>
                  <a:gd name="T39" fmla="*/ 572 h 971"/>
                  <a:gd name="T40" fmla="*/ 499 w 711"/>
                  <a:gd name="T41" fmla="*/ 898 h 971"/>
                  <a:gd name="T42" fmla="*/ 470 w 711"/>
                  <a:gd name="T43" fmla="*/ 950 h 971"/>
                  <a:gd name="T44" fmla="*/ 409 w 711"/>
                  <a:gd name="T45" fmla="*/ 946 h 971"/>
                  <a:gd name="T46" fmla="*/ 386 w 711"/>
                  <a:gd name="T47" fmla="*/ 893 h 971"/>
                  <a:gd name="T48" fmla="*/ 387 w 711"/>
                  <a:gd name="T49" fmla="*/ 617 h 971"/>
                  <a:gd name="T50" fmla="*/ 385 w 711"/>
                  <a:gd name="T51" fmla="*/ 565 h 971"/>
                  <a:gd name="T52" fmla="*/ 369 w 711"/>
                  <a:gd name="T53" fmla="*/ 549 h 971"/>
                  <a:gd name="T54" fmla="*/ 326 w 711"/>
                  <a:gd name="T55" fmla="*/ 589 h 971"/>
                  <a:gd name="T56" fmla="*/ 325 w 711"/>
                  <a:gd name="T57" fmla="*/ 891 h 971"/>
                  <a:gd name="T58" fmla="*/ 296 w 711"/>
                  <a:gd name="T59" fmla="*/ 950 h 971"/>
                  <a:gd name="T60" fmla="*/ 213 w 711"/>
                  <a:gd name="T61" fmla="*/ 900 h 971"/>
                  <a:gd name="T62" fmla="*/ 217 w 711"/>
                  <a:gd name="T63" fmla="*/ 573 h 971"/>
                  <a:gd name="T64" fmla="*/ 196 w 711"/>
                  <a:gd name="T65" fmla="*/ 546 h 971"/>
                  <a:gd name="T66" fmla="*/ 152 w 711"/>
                  <a:gd name="T67" fmla="*/ 487 h 971"/>
                  <a:gd name="T68" fmla="*/ 176 w 711"/>
                  <a:gd name="T69" fmla="*/ 401 h 971"/>
                  <a:gd name="T70" fmla="*/ 221 w 711"/>
                  <a:gd name="T71" fmla="*/ 248 h 971"/>
                  <a:gd name="T72" fmla="*/ 222 w 711"/>
                  <a:gd name="T73" fmla="*/ 204 h 971"/>
                  <a:gd name="T74" fmla="*/ 216 w 711"/>
                  <a:gd name="T75" fmla="*/ 204 h 9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11" h="971">
                    <a:moveTo>
                      <a:pt x="216" y="204"/>
                    </a:moveTo>
                    <a:cubicBezTo>
                      <a:pt x="178" y="263"/>
                      <a:pt x="140" y="322"/>
                      <a:pt x="102" y="381"/>
                    </a:cubicBezTo>
                    <a:cubicBezTo>
                      <a:pt x="83" y="410"/>
                      <a:pt x="51" y="415"/>
                      <a:pt x="24" y="395"/>
                    </a:cubicBezTo>
                    <a:cubicBezTo>
                      <a:pt x="6" y="382"/>
                      <a:pt x="0" y="363"/>
                      <a:pt x="12" y="343"/>
                    </a:cubicBezTo>
                    <a:cubicBezTo>
                      <a:pt x="64" y="255"/>
                      <a:pt x="117" y="166"/>
                      <a:pt x="170" y="79"/>
                    </a:cubicBezTo>
                    <a:cubicBezTo>
                      <a:pt x="189" y="49"/>
                      <a:pt x="214" y="23"/>
                      <a:pt x="248" y="10"/>
                    </a:cubicBezTo>
                    <a:cubicBezTo>
                      <a:pt x="263" y="4"/>
                      <a:pt x="280" y="4"/>
                      <a:pt x="295" y="4"/>
                    </a:cubicBezTo>
                    <a:cubicBezTo>
                      <a:pt x="333" y="3"/>
                      <a:pt x="371" y="7"/>
                      <a:pt x="409" y="4"/>
                    </a:cubicBezTo>
                    <a:cubicBezTo>
                      <a:pt x="448" y="0"/>
                      <a:pt x="481" y="11"/>
                      <a:pt x="506" y="39"/>
                    </a:cubicBezTo>
                    <a:cubicBezTo>
                      <a:pt x="530" y="67"/>
                      <a:pt x="552" y="97"/>
                      <a:pt x="571" y="128"/>
                    </a:cubicBezTo>
                    <a:cubicBezTo>
                      <a:pt x="613" y="196"/>
                      <a:pt x="654" y="266"/>
                      <a:pt x="695" y="335"/>
                    </a:cubicBezTo>
                    <a:cubicBezTo>
                      <a:pt x="711" y="364"/>
                      <a:pt x="707" y="383"/>
                      <a:pt x="682" y="398"/>
                    </a:cubicBezTo>
                    <a:cubicBezTo>
                      <a:pt x="657" y="414"/>
                      <a:pt x="627" y="409"/>
                      <a:pt x="611" y="384"/>
                    </a:cubicBezTo>
                    <a:cubicBezTo>
                      <a:pt x="578" y="334"/>
                      <a:pt x="547" y="284"/>
                      <a:pt x="514" y="234"/>
                    </a:cubicBezTo>
                    <a:cubicBezTo>
                      <a:pt x="508" y="224"/>
                      <a:pt x="501" y="214"/>
                      <a:pt x="492" y="204"/>
                    </a:cubicBezTo>
                    <a:cubicBezTo>
                      <a:pt x="485" y="237"/>
                      <a:pt x="491" y="268"/>
                      <a:pt x="500" y="298"/>
                    </a:cubicBezTo>
                    <a:cubicBezTo>
                      <a:pt x="516" y="349"/>
                      <a:pt x="535" y="399"/>
                      <a:pt x="551" y="449"/>
                    </a:cubicBezTo>
                    <a:cubicBezTo>
                      <a:pt x="555" y="462"/>
                      <a:pt x="558" y="475"/>
                      <a:pt x="559" y="488"/>
                    </a:cubicBezTo>
                    <a:cubicBezTo>
                      <a:pt x="562" y="524"/>
                      <a:pt x="550" y="541"/>
                      <a:pt x="514" y="546"/>
                    </a:cubicBezTo>
                    <a:cubicBezTo>
                      <a:pt x="497" y="549"/>
                      <a:pt x="493" y="555"/>
                      <a:pt x="494" y="572"/>
                    </a:cubicBezTo>
                    <a:cubicBezTo>
                      <a:pt x="496" y="681"/>
                      <a:pt x="498" y="789"/>
                      <a:pt x="499" y="898"/>
                    </a:cubicBezTo>
                    <a:cubicBezTo>
                      <a:pt x="499" y="921"/>
                      <a:pt x="492" y="939"/>
                      <a:pt x="470" y="950"/>
                    </a:cubicBezTo>
                    <a:cubicBezTo>
                      <a:pt x="448" y="961"/>
                      <a:pt x="428" y="959"/>
                      <a:pt x="409" y="946"/>
                    </a:cubicBezTo>
                    <a:cubicBezTo>
                      <a:pt x="390" y="933"/>
                      <a:pt x="386" y="914"/>
                      <a:pt x="386" y="893"/>
                    </a:cubicBezTo>
                    <a:cubicBezTo>
                      <a:pt x="387" y="801"/>
                      <a:pt x="387" y="709"/>
                      <a:pt x="387" y="617"/>
                    </a:cubicBezTo>
                    <a:cubicBezTo>
                      <a:pt x="387" y="600"/>
                      <a:pt x="385" y="583"/>
                      <a:pt x="385" y="565"/>
                    </a:cubicBezTo>
                    <a:cubicBezTo>
                      <a:pt x="385" y="554"/>
                      <a:pt x="382" y="548"/>
                      <a:pt x="369" y="549"/>
                    </a:cubicBezTo>
                    <a:cubicBezTo>
                      <a:pt x="321" y="550"/>
                      <a:pt x="326" y="541"/>
                      <a:pt x="326" y="589"/>
                    </a:cubicBezTo>
                    <a:cubicBezTo>
                      <a:pt x="325" y="689"/>
                      <a:pt x="325" y="790"/>
                      <a:pt x="325" y="891"/>
                    </a:cubicBezTo>
                    <a:cubicBezTo>
                      <a:pt x="325" y="916"/>
                      <a:pt x="320" y="937"/>
                      <a:pt x="296" y="950"/>
                    </a:cubicBezTo>
                    <a:cubicBezTo>
                      <a:pt x="256" y="971"/>
                      <a:pt x="212" y="946"/>
                      <a:pt x="213" y="900"/>
                    </a:cubicBezTo>
                    <a:cubicBezTo>
                      <a:pt x="213" y="791"/>
                      <a:pt x="215" y="682"/>
                      <a:pt x="217" y="573"/>
                    </a:cubicBezTo>
                    <a:cubicBezTo>
                      <a:pt x="218" y="555"/>
                      <a:pt x="213" y="549"/>
                      <a:pt x="196" y="546"/>
                    </a:cubicBezTo>
                    <a:cubicBezTo>
                      <a:pt x="161" y="541"/>
                      <a:pt x="146" y="522"/>
                      <a:pt x="152" y="487"/>
                    </a:cubicBezTo>
                    <a:cubicBezTo>
                      <a:pt x="157" y="458"/>
                      <a:pt x="168" y="430"/>
                      <a:pt x="176" y="401"/>
                    </a:cubicBezTo>
                    <a:cubicBezTo>
                      <a:pt x="191" y="350"/>
                      <a:pt x="207" y="299"/>
                      <a:pt x="221" y="248"/>
                    </a:cubicBezTo>
                    <a:cubicBezTo>
                      <a:pt x="225" y="234"/>
                      <a:pt x="222" y="218"/>
                      <a:pt x="222" y="204"/>
                    </a:cubicBezTo>
                    <a:cubicBezTo>
                      <a:pt x="220" y="204"/>
                      <a:pt x="218" y="204"/>
                      <a:pt x="216" y="2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4" name="Freeform 30"/>
              <p:cNvSpPr>
                <a:spLocks/>
              </p:cNvSpPr>
              <p:nvPr/>
            </p:nvSpPr>
            <p:spPr bwMode="auto">
              <a:xfrm>
                <a:off x="9659667" y="3495733"/>
                <a:ext cx="287338" cy="290513"/>
              </a:xfrm>
              <a:custGeom>
                <a:avLst/>
                <a:gdLst>
                  <a:gd name="T0" fmla="*/ 373 w 373"/>
                  <a:gd name="T1" fmla="*/ 188 h 377"/>
                  <a:gd name="T2" fmla="*/ 187 w 373"/>
                  <a:gd name="T3" fmla="*/ 376 h 377"/>
                  <a:gd name="T4" fmla="*/ 0 w 373"/>
                  <a:gd name="T5" fmla="*/ 186 h 377"/>
                  <a:gd name="T6" fmla="*/ 186 w 373"/>
                  <a:gd name="T7" fmla="*/ 1 h 377"/>
                  <a:gd name="T8" fmla="*/ 373 w 373"/>
                  <a:gd name="T9" fmla="*/ 188 h 3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3" h="377">
                    <a:moveTo>
                      <a:pt x="373" y="188"/>
                    </a:moveTo>
                    <a:cubicBezTo>
                      <a:pt x="373" y="290"/>
                      <a:pt x="288" y="376"/>
                      <a:pt x="187" y="376"/>
                    </a:cubicBezTo>
                    <a:cubicBezTo>
                      <a:pt x="86" y="377"/>
                      <a:pt x="0" y="289"/>
                      <a:pt x="0" y="186"/>
                    </a:cubicBezTo>
                    <a:cubicBezTo>
                      <a:pt x="1" y="86"/>
                      <a:pt x="86" y="1"/>
                      <a:pt x="186" y="1"/>
                    </a:cubicBezTo>
                    <a:cubicBezTo>
                      <a:pt x="288" y="0"/>
                      <a:pt x="373" y="85"/>
                      <a:pt x="373" y="18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5" name="Freeform 31"/>
              <p:cNvSpPr>
                <a:spLocks/>
              </p:cNvSpPr>
              <p:nvPr/>
            </p:nvSpPr>
            <p:spPr bwMode="auto">
              <a:xfrm>
                <a:off x="10770917" y="3571934"/>
                <a:ext cx="269875" cy="273049"/>
              </a:xfrm>
              <a:custGeom>
                <a:avLst/>
                <a:gdLst>
                  <a:gd name="T0" fmla="*/ 350 w 350"/>
                  <a:gd name="T1" fmla="*/ 177 h 354"/>
                  <a:gd name="T2" fmla="*/ 174 w 350"/>
                  <a:gd name="T3" fmla="*/ 354 h 354"/>
                  <a:gd name="T4" fmla="*/ 0 w 350"/>
                  <a:gd name="T5" fmla="*/ 178 h 354"/>
                  <a:gd name="T6" fmla="*/ 176 w 350"/>
                  <a:gd name="T7" fmla="*/ 1 h 354"/>
                  <a:gd name="T8" fmla="*/ 350 w 350"/>
                  <a:gd name="T9" fmla="*/ 177 h 3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0" h="354">
                    <a:moveTo>
                      <a:pt x="350" y="177"/>
                    </a:moveTo>
                    <a:cubicBezTo>
                      <a:pt x="349" y="272"/>
                      <a:pt x="267" y="354"/>
                      <a:pt x="174" y="354"/>
                    </a:cubicBezTo>
                    <a:cubicBezTo>
                      <a:pt x="81" y="353"/>
                      <a:pt x="0" y="271"/>
                      <a:pt x="0" y="178"/>
                    </a:cubicBezTo>
                    <a:cubicBezTo>
                      <a:pt x="0" y="83"/>
                      <a:pt x="82" y="0"/>
                      <a:pt x="176" y="1"/>
                    </a:cubicBezTo>
                    <a:cubicBezTo>
                      <a:pt x="268" y="2"/>
                      <a:pt x="350" y="84"/>
                      <a:pt x="350" y="17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6" name="Freeform 32"/>
              <p:cNvSpPr>
                <a:spLocks/>
              </p:cNvSpPr>
              <p:nvPr/>
            </p:nvSpPr>
            <p:spPr bwMode="auto">
              <a:xfrm>
                <a:off x="10234342" y="3960870"/>
                <a:ext cx="239714" cy="244475"/>
              </a:xfrm>
              <a:custGeom>
                <a:avLst/>
                <a:gdLst>
                  <a:gd name="T0" fmla="*/ 311 w 311"/>
                  <a:gd name="T1" fmla="*/ 159 h 317"/>
                  <a:gd name="T2" fmla="*/ 156 w 311"/>
                  <a:gd name="T3" fmla="*/ 316 h 317"/>
                  <a:gd name="T4" fmla="*/ 1 w 311"/>
                  <a:gd name="T5" fmla="*/ 158 h 317"/>
                  <a:gd name="T6" fmla="*/ 157 w 311"/>
                  <a:gd name="T7" fmla="*/ 2 h 317"/>
                  <a:gd name="T8" fmla="*/ 311 w 311"/>
                  <a:gd name="T9" fmla="*/ 159 h 3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1" h="317">
                    <a:moveTo>
                      <a:pt x="311" y="159"/>
                    </a:moveTo>
                    <a:cubicBezTo>
                      <a:pt x="310" y="243"/>
                      <a:pt x="238" y="316"/>
                      <a:pt x="156" y="316"/>
                    </a:cubicBezTo>
                    <a:cubicBezTo>
                      <a:pt x="73" y="317"/>
                      <a:pt x="0" y="243"/>
                      <a:pt x="1" y="158"/>
                    </a:cubicBezTo>
                    <a:cubicBezTo>
                      <a:pt x="1" y="72"/>
                      <a:pt x="73" y="0"/>
                      <a:pt x="157" y="2"/>
                    </a:cubicBezTo>
                    <a:cubicBezTo>
                      <a:pt x="241" y="3"/>
                      <a:pt x="311" y="75"/>
                      <a:pt x="311" y="15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</p:grpSp>
      </p:grpSp>
      <p:grpSp>
        <p:nvGrpSpPr>
          <p:cNvPr id="47" name="Группа 39"/>
          <p:cNvGrpSpPr/>
          <p:nvPr/>
        </p:nvGrpSpPr>
        <p:grpSpPr>
          <a:xfrm>
            <a:off x="4429132" y="7953396"/>
            <a:ext cx="2081089" cy="1309824"/>
            <a:chOff x="132904" y="4754735"/>
            <a:chExt cx="2081088" cy="1512168"/>
          </a:xfrm>
        </p:grpSpPr>
        <p:sp>
          <p:nvSpPr>
            <p:cNvPr id="48" name="Скругленный прямоугольник 47"/>
            <p:cNvSpPr/>
            <p:nvPr/>
          </p:nvSpPr>
          <p:spPr>
            <a:xfrm>
              <a:off x="171004" y="4754735"/>
              <a:ext cx="2016224" cy="1512168"/>
            </a:xfrm>
            <a:prstGeom prst="roundRect">
              <a:avLst/>
            </a:prstGeom>
            <a:noFill/>
            <a:ln w="73025">
              <a:solidFill>
                <a:srgbClr val="83AEE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49" name="Прямоугольник 48"/>
            <p:cNvSpPr/>
            <p:nvPr/>
          </p:nvSpPr>
          <p:spPr>
            <a:xfrm>
              <a:off x="132904" y="4856460"/>
              <a:ext cx="2081088" cy="55720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Поддержка</a:t>
              </a:r>
            </a:p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сиротства</a:t>
              </a:r>
              <a:endParaRPr lang="ru-RU" dirty="0"/>
            </a:p>
          </p:txBody>
        </p:sp>
        <p:sp>
          <p:nvSpPr>
            <p:cNvPr id="50" name="Скругленный прямоугольник 49"/>
            <p:cNvSpPr/>
            <p:nvPr/>
          </p:nvSpPr>
          <p:spPr>
            <a:xfrm>
              <a:off x="669544" y="5618832"/>
              <a:ext cx="1015144" cy="423540"/>
            </a:xfrm>
            <a:prstGeom prst="roundRect">
              <a:avLst>
                <a:gd name="adj" fmla="val 31566"/>
              </a:avLst>
            </a:prstGeom>
            <a:solidFill>
              <a:srgbClr val="3F81D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dirty="0" smtClean="0"/>
                <a:t>3,9</a:t>
              </a:r>
              <a:endParaRPr lang="ru-RU" dirty="0"/>
            </a:p>
          </p:txBody>
        </p:sp>
      </p:grpSp>
      <p:cxnSp>
        <p:nvCxnSpPr>
          <p:cNvPr id="51" name="Прямая соединительная линия 50"/>
          <p:cNvCxnSpPr/>
          <p:nvPr/>
        </p:nvCxnSpPr>
        <p:spPr>
          <a:xfrm rot="16200000" flipH="1">
            <a:off x="3786190" y="7881958"/>
            <a:ext cx="928694" cy="357190"/>
          </a:xfrm>
          <a:prstGeom prst="line">
            <a:avLst/>
          </a:prstGeom>
          <a:ln w="82550" cap="rnd">
            <a:solidFill>
              <a:srgbClr val="83AEE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2" name="Группа 23"/>
          <p:cNvGrpSpPr/>
          <p:nvPr/>
        </p:nvGrpSpPr>
        <p:grpSpPr>
          <a:xfrm>
            <a:off x="3643314" y="7054170"/>
            <a:ext cx="433119" cy="470598"/>
            <a:chOff x="6096001" y="5805265"/>
            <a:chExt cx="577492" cy="470598"/>
          </a:xfrm>
        </p:grpSpPr>
        <p:sp>
          <p:nvSpPr>
            <p:cNvPr id="53" name="Овал 52"/>
            <p:cNvSpPr/>
            <p:nvPr/>
          </p:nvSpPr>
          <p:spPr>
            <a:xfrm>
              <a:off x="6096001" y="5805265"/>
              <a:ext cx="576064" cy="470598"/>
            </a:xfrm>
            <a:prstGeom prst="ellipse">
              <a:avLst/>
            </a:prstGeom>
            <a:solidFill>
              <a:srgbClr val="83AE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grpSp>
          <p:nvGrpSpPr>
            <p:cNvPr id="54" name="Группа 42"/>
            <p:cNvGrpSpPr/>
            <p:nvPr/>
          </p:nvGrpSpPr>
          <p:grpSpPr>
            <a:xfrm>
              <a:off x="6158724" y="5880213"/>
              <a:ext cx="514769" cy="330724"/>
              <a:chOff x="-2887671" y="7478713"/>
              <a:chExt cx="3921367" cy="3359150"/>
            </a:xfrm>
            <a:solidFill>
              <a:schemeClr val="tx1">
                <a:lumMod val="85000"/>
                <a:lumOff val="15000"/>
              </a:schemeClr>
            </a:solidFill>
          </p:grpSpPr>
          <p:sp>
            <p:nvSpPr>
              <p:cNvPr id="55" name="Freeform 38"/>
              <p:cNvSpPr>
                <a:spLocks/>
              </p:cNvSpPr>
              <p:nvPr/>
            </p:nvSpPr>
            <p:spPr bwMode="auto">
              <a:xfrm>
                <a:off x="-2887671" y="8061326"/>
                <a:ext cx="1716326" cy="2776537"/>
              </a:xfrm>
              <a:custGeom>
                <a:avLst/>
                <a:gdLst>
                  <a:gd name="T0" fmla="*/ 312 w 693"/>
                  <a:gd name="T1" fmla="*/ 743 h 872"/>
                  <a:gd name="T2" fmla="*/ 311 w 693"/>
                  <a:gd name="T3" fmla="*/ 803 h 872"/>
                  <a:gd name="T4" fmla="*/ 244 w 693"/>
                  <a:gd name="T5" fmla="*/ 870 h 872"/>
                  <a:gd name="T6" fmla="*/ 171 w 693"/>
                  <a:gd name="T7" fmla="*/ 807 h 872"/>
                  <a:gd name="T8" fmla="*/ 170 w 693"/>
                  <a:gd name="T9" fmla="*/ 691 h 872"/>
                  <a:gd name="T10" fmla="*/ 142 w 693"/>
                  <a:gd name="T11" fmla="*/ 661 h 872"/>
                  <a:gd name="T12" fmla="*/ 105 w 693"/>
                  <a:gd name="T13" fmla="*/ 617 h 872"/>
                  <a:gd name="T14" fmla="*/ 153 w 693"/>
                  <a:gd name="T15" fmla="*/ 275 h 872"/>
                  <a:gd name="T16" fmla="*/ 141 w 693"/>
                  <a:gd name="T17" fmla="*/ 244 h 872"/>
                  <a:gd name="T18" fmla="*/ 35 w 693"/>
                  <a:gd name="T19" fmla="*/ 136 h 872"/>
                  <a:gd name="T20" fmla="*/ 30 w 693"/>
                  <a:gd name="T21" fmla="*/ 30 h 872"/>
                  <a:gd name="T22" fmla="*/ 137 w 693"/>
                  <a:gd name="T23" fmla="*/ 35 h 872"/>
                  <a:gd name="T24" fmla="*/ 251 w 693"/>
                  <a:gd name="T25" fmla="*/ 150 h 872"/>
                  <a:gd name="T26" fmla="*/ 301 w 693"/>
                  <a:gd name="T27" fmla="*/ 170 h 872"/>
                  <a:gd name="T28" fmla="*/ 403 w 693"/>
                  <a:gd name="T29" fmla="*/ 169 h 872"/>
                  <a:gd name="T30" fmla="*/ 439 w 693"/>
                  <a:gd name="T31" fmla="*/ 154 h 872"/>
                  <a:gd name="T32" fmla="*/ 559 w 693"/>
                  <a:gd name="T33" fmla="*/ 36 h 872"/>
                  <a:gd name="T34" fmla="*/ 667 w 693"/>
                  <a:gd name="T35" fmla="*/ 36 h 872"/>
                  <a:gd name="T36" fmla="*/ 661 w 693"/>
                  <a:gd name="T37" fmla="*/ 137 h 872"/>
                  <a:gd name="T38" fmla="*/ 552 w 693"/>
                  <a:gd name="T39" fmla="*/ 246 h 872"/>
                  <a:gd name="T40" fmla="*/ 538 w 693"/>
                  <a:gd name="T41" fmla="*/ 287 h 872"/>
                  <a:gd name="T42" fmla="*/ 589 w 693"/>
                  <a:gd name="T43" fmla="*/ 638 h 872"/>
                  <a:gd name="T44" fmla="*/ 570 w 693"/>
                  <a:gd name="T45" fmla="*/ 661 h 872"/>
                  <a:gd name="T46" fmla="*/ 521 w 693"/>
                  <a:gd name="T47" fmla="*/ 711 h 872"/>
                  <a:gd name="T48" fmla="*/ 521 w 693"/>
                  <a:gd name="T49" fmla="*/ 795 h 872"/>
                  <a:gd name="T50" fmla="*/ 450 w 693"/>
                  <a:gd name="T51" fmla="*/ 870 h 872"/>
                  <a:gd name="T52" fmla="*/ 379 w 693"/>
                  <a:gd name="T53" fmla="*/ 796 h 872"/>
                  <a:gd name="T54" fmla="*/ 379 w 693"/>
                  <a:gd name="T55" fmla="*/ 680 h 872"/>
                  <a:gd name="T56" fmla="*/ 361 w 693"/>
                  <a:gd name="T57" fmla="*/ 661 h 872"/>
                  <a:gd name="T58" fmla="*/ 312 w 693"/>
                  <a:gd name="T59" fmla="*/ 709 h 872"/>
                  <a:gd name="T60" fmla="*/ 312 w 693"/>
                  <a:gd name="T61" fmla="*/ 743 h 872"/>
                  <a:gd name="T62" fmla="*/ 312 w 693"/>
                  <a:gd name="T63" fmla="*/ 743 h 8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693" h="872">
                    <a:moveTo>
                      <a:pt x="312" y="743"/>
                    </a:moveTo>
                    <a:cubicBezTo>
                      <a:pt x="312" y="763"/>
                      <a:pt x="312" y="783"/>
                      <a:pt x="311" y="803"/>
                    </a:cubicBezTo>
                    <a:cubicBezTo>
                      <a:pt x="310" y="841"/>
                      <a:pt x="282" y="869"/>
                      <a:pt x="244" y="870"/>
                    </a:cubicBezTo>
                    <a:cubicBezTo>
                      <a:pt x="205" y="872"/>
                      <a:pt x="173" y="845"/>
                      <a:pt x="171" y="807"/>
                    </a:cubicBezTo>
                    <a:cubicBezTo>
                      <a:pt x="169" y="768"/>
                      <a:pt x="169" y="730"/>
                      <a:pt x="170" y="691"/>
                    </a:cubicBezTo>
                    <a:cubicBezTo>
                      <a:pt x="171" y="665"/>
                      <a:pt x="168" y="661"/>
                      <a:pt x="142" y="661"/>
                    </a:cubicBezTo>
                    <a:cubicBezTo>
                      <a:pt x="92" y="661"/>
                      <a:pt x="98" y="666"/>
                      <a:pt x="105" y="617"/>
                    </a:cubicBezTo>
                    <a:cubicBezTo>
                      <a:pt x="121" y="503"/>
                      <a:pt x="138" y="389"/>
                      <a:pt x="153" y="275"/>
                    </a:cubicBezTo>
                    <a:cubicBezTo>
                      <a:pt x="155" y="265"/>
                      <a:pt x="149" y="252"/>
                      <a:pt x="141" y="244"/>
                    </a:cubicBezTo>
                    <a:cubicBezTo>
                      <a:pt x="107" y="207"/>
                      <a:pt x="70" y="172"/>
                      <a:pt x="35" y="136"/>
                    </a:cubicBezTo>
                    <a:cubicBezTo>
                      <a:pt x="2" y="103"/>
                      <a:pt x="0" y="59"/>
                      <a:pt x="30" y="30"/>
                    </a:cubicBezTo>
                    <a:cubicBezTo>
                      <a:pt x="60" y="0"/>
                      <a:pt x="103" y="2"/>
                      <a:pt x="137" y="35"/>
                    </a:cubicBezTo>
                    <a:cubicBezTo>
                      <a:pt x="175" y="73"/>
                      <a:pt x="213" y="111"/>
                      <a:pt x="251" y="150"/>
                    </a:cubicBezTo>
                    <a:cubicBezTo>
                      <a:pt x="265" y="164"/>
                      <a:pt x="281" y="171"/>
                      <a:pt x="301" y="170"/>
                    </a:cubicBezTo>
                    <a:cubicBezTo>
                      <a:pt x="335" y="169"/>
                      <a:pt x="369" y="171"/>
                      <a:pt x="403" y="169"/>
                    </a:cubicBezTo>
                    <a:cubicBezTo>
                      <a:pt x="415" y="168"/>
                      <a:pt x="430" y="163"/>
                      <a:pt x="439" y="154"/>
                    </a:cubicBezTo>
                    <a:cubicBezTo>
                      <a:pt x="480" y="116"/>
                      <a:pt x="518" y="75"/>
                      <a:pt x="559" y="36"/>
                    </a:cubicBezTo>
                    <a:cubicBezTo>
                      <a:pt x="592" y="4"/>
                      <a:pt x="638" y="4"/>
                      <a:pt x="667" y="36"/>
                    </a:cubicBezTo>
                    <a:cubicBezTo>
                      <a:pt x="693" y="65"/>
                      <a:pt x="691" y="107"/>
                      <a:pt x="661" y="137"/>
                    </a:cubicBezTo>
                    <a:cubicBezTo>
                      <a:pt x="625" y="174"/>
                      <a:pt x="589" y="210"/>
                      <a:pt x="552" y="246"/>
                    </a:cubicBezTo>
                    <a:cubicBezTo>
                      <a:pt x="540" y="258"/>
                      <a:pt x="536" y="270"/>
                      <a:pt x="538" y="287"/>
                    </a:cubicBezTo>
                    <a:cubicBezTo>
                      <a:pt x="556" y="404"/>
                      <a:pt x="572" y="521"/>
                      <a:pt x="589" y="638"/>
                    </a:cubicBezTo>
                    <a:cubicBezTo>
                      <a:pt x="592" y="655"/>
                      <a:pt x="588" y="661"/>
                      <a:pt x="570" y="661"/>
                    </a:cubicBezTo>
                    <a:cubicBezTo>
                      <a:pt x="522" y="662"/>
                      <a:pt x="522" y="662"/>
                      <a:pt x="521" y="711"/>
                    </a:cubicBezTo>
                    <a:cubicBezTo>
                      <a:pt x="521" y="739"/>
                      <a:pt x="521" y="767"/>
                      <a:pt x="521" y="795"/>
                    </a:cubicBezTo>
                    <a:cubicBezTo>
                      <a:pt x="521" y="840"/>
                      <a:pt x="493" y="869"/>
                      <a:pt x="450" y="870"/>
                    </a:cubicBezTo>
                    <a:cubicBezTo>
                      <a:pt x="407" y="870"/>
                      <a:pt x="379" y="840"/>
                      <a:pt x="379" y="796"/>
                    </a:cubicBezTo>
                    <a:cubicBezTo>
                      <a:pt x="379" y="757"/>
                      <a:pt x="379" y="719"/>
                      <a:pt x="379" y="680"/>
                    </a:cubicBezTo>
                    <a:cubicBezTo>
                      <a:pt x="379" y="667"/>
                      <a:pt x="375" y="661"/>
                      <a:pt x="361" y="661"/>
                    </a:cubicBezTo>
                    <a:cubicBezTo>
                      <a:pt x="303" y="662"/>
                      <a:pt x="313" y="653"/>
                      <a:pt x="312" y="709"/>
                    </a:cubicBezTo>
                    <a:cubicBezTo>
                      <a:pt x="312" y="720"/>
                      <a:pt x="312" y="731"/>
                      <a:pt x="312" y="743"/>
                    </a:cubicBezTo>
                    <a:cubicBezTo>
                      <a:pt x="312" y="743"/>
                      <a:pt x="312" y="743"/>
                      <a:pt x="312" y="7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56" name="Freeform 39"/>
              <p:cNvSpPr>
                <a:spLocks/>
              </p:cNvSpPr>
              <p:nvPr/>
            </p:nvSpPr>
            <p:spPr bwMode="auto">
              <a:xfrm>
                <a:off x="-1171345" y="8067674"/>
                <a:ext cx="2205041" cy="2767009"/>
              </a:xfrm>
              <a:custGeom>
                <a:avLst/>
                <a:gdLst>
                  <a:gd name="T0" fmla="*/ 170 w 694"/>
                  <a:gd name="T1" fmla="*/ 542 h 869"/>
                  <a:gd name="T2" fmla="*/ 170 w 694"/>
                  <a:gd name="T3" fmla="*/ 294 h 869"/>
                  <a:gd name="T4" fmla="*/ 152 w 694"/>
                  <a:gd name="T5" fmla="*/ 252 h 869"/>
                  <a:gd name="T6" fmla="*/ 33 w 694"/>
                  <a:gd name="T7" fmla="*/ 133 h 869"/>
                  <a:gd name="T8" fmla="*/ 35 w 694"/>
                  <a:gd name="T9" fmla="*/ 24 h 869"/>
                  <a:gd name="T10" fmla="*/ 132 w 694"/>
                  <a:gd name="T11" fmla="*/ 29 h 869"/>
                  <a:gd name="T12" fmla="*/ 251 w 694"/>
                  <a:gd name="T13" fmla="*/ 148 h 869"/>
                  <a:gd name="T14" fmla="*/ 299 w 694"/>
                  <a:gd name="T15" fmla="*/ 168 h 869"/>
                  <a:gd name="T16" fmla="*/ 400 w 694"/>
                  <a:gd name="T17" fmla="*/ 168 h 869"/>
                  <a:gd name="T18" fmla="*/ 443 w 694"/>
                  <a:gd name="T19" fmla="*/ 151 h 869"/>
                  <a:gd name="T20" fmla="*/ 557 w 694"/>
                  <a:gd name="T21" fmla="*/ 36 h 869"/>
                  <a:gd name="T22" fmla="*/ 664 w 694"/>
                  <a:gd name="T23" fmla="*/ 31 h 869"/>
                  <a:gd name="T24" fmla="*/ 659 w 694"/>
                  <a:gd name="T25" fmla="*/ 138 h 869"/>
                  <a:gd name="T26" fmla="*/ 539 w 694"/>
                  <a:gd name="T27" fmla="*/ 258 h 869"/>
                  <a:gd name="T28" fmla="*/ 521 w 694"/>
                  <a:gd name="T29" fmla="*/ 302 h 869"/>
                  <a:gd name="T30" fmla="*/ 522 w 694"/>
                  <a:gd name="T31" fmla="*/ 710 h 869"/>
                  <a:gd name="T32" fmla="*/ 521 w 694"/>
                  <a:gd name="T33" fmla="*/ 802 h 869"/>
                  <a:gd name="T34" fmla="*/ 451 w 694"/>
                  <a:gd name="T35" fmla="*/ 869 h 869"/>
                  <a:gd name="T36" fmla="*/ 380 w 694"/>
                  <a:gd name="T37" fmla="*/ 802 h 869"/>
                  <a:gd name="T38" fmla="*/ 380 w 694"/>
                  <a:gd name="T39" fmla="*/ 614 h 869"/>
                  <a:gd name="T40" fmla="*/ 353 w 694"/>
                  <a:gd name="T41" fmla="*/ 589 h 869"/>
                  <a:gd name="T42" fmla="*/ 312 w 694"/>
                  <a:gd name="T43" fmla="*/ 630 h 869"/>
                  <a:gd name="T44" fmla="*/ 312 w 694"/>
                  <a:gd name="T45" fmla="*/ 796 h 869"/>
                  <a:gd name="T46" fmla="*/ 241 w 694"/>
                  <a:gd name="T47" fmla="*/ 869 h 869"/>
                  <a:gd name="T48" fmla="*/ 170 w 694"/>
                  <a:gd name="T49" fmla="*/ 796 h 869"/>
                  <a:gd name="T50" fmla="*/ 170 w 694"/>
                  <a:gd name="T51" fmla="*/ 542 h 869"/>
                  <a:gd name="T52" fmla="*/ 170 w 694"/>
                  <a:gd name="T53" fmla="*/ 542 h 8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94" h="869">
                    <a:moveTo>
                      <a:pt x="170" y="542"/>
                    </a:moveTo>
                    <a:cubicBezTo>
                      <a:pt x="170" y="460"/>
                      <a:pt x="169" y="377"/>
                      <a:pt x="170" y="294"/>
                    </a:cubicBezTo>
                    <a:cubicBezTo>
                      <a:pt x="170" y="277"/>
                      <a:pt x="165" y="264"/>
                      <a:pt x="152" y="252"/>
                    </a:cubicBezTo>
                    <a:cubicBezTo>
                      <a:pt x="112" y="213"/>
                      <a:pt x="73" y="173"/>
                      <a:pt x="33" y="133"/>
                    </a:cubicBezTo>
                    <a:cubicBezTo>
                      <a:pt x="0" y="99"/>
                      <a:pt x="1" y="53"/>
                      <a:pt x="35" y="24"/>
                    </a:cubicBezTo>
                    <a:cubicBezTo>
                      <a:pt x="63" y="0"/>
                      <a:pt x="103" y="0"/>
                      <a:pt x="132" y="29"/>
                    </a:cubicBezTo>
                    <a:cubicBezTo>
                      <a:pt x="173" y="67"/>
                      <a:pt x="212" y="107"/>
                      <a:pt x="251" y="148"/>
                    </a:cubicBezTo>
                    <a:cubicBezTo>
                      <a:pt x="265" y="162"/>
                      <a:pt x="279" y="168"/>
                      <a:pt x="299" y="168"/>
                    </a:cubicBezTo>
                    <a:cubicBezTo>
                      <a:pt x="332" y="167"/>
                      <a:pt x="366" y="167"/>
                      <a:pt x="400" y="168"/>
                    </a:cubicBezTo>
                    <a:cubicBezTo>
                      <a:pt x="418" y="168"/>
                      <a:pt x="431" y="163"/>
                      <a:pt x="443" y="151"/>
                    </a:cubicBezTo>
                    <a:cubicBezTo>
                      <a:pt x="481" y="112"/>
                      <a:pt x="519" y="74"/>
                      <a:pt x="557" y="36"/>
                    </a:cubicBezTo>
                    <a:cubicBezTo>
                      <a:pt x="590" y="3"/>
                      <a:pt x="635" y="1"/>
                      <a:pt x="664" y="31"/>
                    </a:cubicBezTo>
                    <a:cubicBezTo>
                      <a:pt x="694" y="61"/>
                      <a:pt x="692" y="105"/>
                      <a:pt x="659" y="138"/>
                    </a:cubicBezTo>
                    <a:cubicBezTo>
                      <a:pt x="619" y="178"/>
                      <a:pt x="580" y="218"/>
                      <a:pt x="539" y="258"/>
                    </a:cubicBezTo>
                    <a:cubicBezTo>
                      <a:pt x="526" y="270"/>
                      <a:pt x="521" y="284"/>
                      <a:pt x="521" y="302"/>
                    </a:cubicBezTo>
                    <a:cubicBezTo>
                      <a:pt x="521" y="438"/>
                      <a:pt x="522" y="574"/>
                      <a:pt x="522" y="710"/>
                    </a:cubicBezTo>
                    <a:cubicBezTo>
                      <a:pt x="522" y="740"/>
                      <a:pt x="521" y="771"/>
                      <a:pt x="521" y="802"/>
                    </a:cubicBezTo>
                    <a:cubicBezTo>
                      <a:pt x="520" y="839"/>
                      <a:pt x="489" y="869"/>
                      <a:pt x="451" y="869"/>
                    </a:cubicBezTo>
                    <a:cubicBezTo>
                      <a:pt x="412" y="869"/>
                      <a:pt x="380" y="840"/>
                      <a:pt x="380" y="802"/>
                    </a:cubicBezTo>
                    <a:cubicBezTo>
                      <a:pt x="379" y="740"/>
                      <a:pt x="378" y="677"/>
                      <a:pt x="380" y="614"/>
                    </a:cubicBezTo>
                    <a:cubicBezTo>
                      <a:pt x="380" y="594"/>
                      <a:pt x="373" y="588"/>
                      <a:pt x="353" y="589"/>
                    </a:cubicBezTo>
                    <a:cubicBezTo>
                      <a:pt x="306" y="590"/>
                      <a:pt x="312" y="586"/>
                      <a:pt x="312" y="630"/>
                    </a:cubicBezTo>
                    <a:cubicBezTo>
                      <a:pt x="312" y="685"/>
                      <a:pt x="312" y="740"/>
                      <a:pt x="312" y="796"/>
                    </a:cubicBezTo>
                    <a:cubicBezTo>
                      <a:pt x="312" y="838"/>
                      <a:pt x="282" y="869"/>
                      <a:pt x="241" y="869"/>
                    </a:cubicBezTo>
                    <a:cubicBezTo>
                      <a:pt x="201" y="869"/>
                      <a:pt x="170" y="839"/>
                      <a:pt x="170" y="796"/>
                    </a:cubicBezTo>
                    <a:cubicBezTo>
                      <a:pt x="169" y="711"/>
                      <a:pt x="170" y="627"/>
                      <a:pt x="170" y="542"/>
                    </a:cubicBezTo>
                    <a:cubicBezTo>
                      <a:pt x="170" y="542"/>
                      <a:pt x="170" y="542"/>
                      <a:pt x="170" y="5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57" name="Freeform 40"/>
              <p:cNvSpPr>
                <a:spLocks/>
              </p:cNvSpPr>
              <p:nvPr/>
            </p:nvSpPr>
            <p:spPr bwMode="auto">
              <a:xfrm>
                <a:off x="-2816956" y="7478713"/>
                <a:ext cx="1582742" cy="919164"/>
              </a:xfrm>
              <a:custGeom>
                <a:avLst/>
                <a:gdLst>
                  <a:gd name="T0" fmla="*/ 356 w 498"/>
                  <a:gd name="T1" fmla="*/ 50 h 289"/>
                  <a:gd name="T2" fmla="*/ 432 w 498"/>
                  <a:gd name="T3" fmla="*/ 4 h 289"/>
                  <a:gd name="T4" fmla="*/ 495 w 498"/>
                  <a:gd name="T5" fmla="*/ 59 h 289"/>
                  <a:gd name="T6" fmla="*/ 481 w 498"/>
                  <a:gd name="T7" fmla="*/ 76 h 289"/>
                  <a:gd name="T8" fmla="*/ 377 w 498"/>
                  <a:gd name="T9" fmla="*/ 76 h 289"/>
                  <a:gd name="T10" fmla="*/ 341 w 498"/>
                  <a:gd name="T11" fmla="*/ 254 h 289"/>
                  <a:gd name="T12" fmla="*/ 235 w 498"/>
                  <a:gd name="T13" fmla="*/ 286 h 289"/>
                  <a:gd name="T14" fmla="*/ 125 w 498"/>
                  <a:gd name="T15" fmla="*/ 212 h 289"/>
                  <a:gd name="T16" fmla="*/ 124 w 498"/>
                  <a:gd name="T17" fmla="*/ 77 h 289"/>
                  <a:gd name="T18" fmla="*/ 29 w 498"/>
                  <a:gd name="T19" fmla="*/ 77 h 289"/>
                  <a:gd name="T20" fmla="*/ 10 w 498"/>
                  <a:gd name="T21" fmla="*/ 47 h 289"/>
                  <a:gd name="T22" fmla="*/ 65 w 498"/>
                  <a:gd name="T23" fmla="*/ 4 h 289"/>
                  <a:gd name="T24" fmla="*/ 132 w 498"/>
                  <a:gd name="T25" fmla="*/ 31 h 289"/>
                  <a:gd name="T26" fmla="*/ 145 w 498"/>
                  <a:gd name="T27" fmla="*/ 49 h 289"/>
                  <a:gd name="T28" fmla="*/ 250 w 498"/>
                  <a:gd name="T29" fmla="*/ 3 h 289"/>
                  <a:gd name="T30" fmla="*/ 356 w 498"/>
                  <a:gd name="T31" fmla="*/ 50 h 2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98" h="289">
                    <a:moveTo>
                      <a:pt x="356" y="50"/>
                    </a:moveTo>
                    <a:cubicBezTo>
                      <a:pt x="374" y="18"/>
                      <a:pt x="397" y="1"/>
                      <a:pt x="432" y="4"/>
                    </a:cubicBezTo>
                    <a:cubicBezTo>
                      <a:pt x="461" y="6"/>
                      <a:pt x="489" y="30"/>
                      <a:pt x="495" y="59"/>
                    </a:cubicBezTo>
                    <a:cubicBezTo>
                      <a:pt x="498" y="71"/>
                      <a:pt x="494" y="76"/>
                      <a:pt x="481" y="76"/>
                    </a:cubicBezTo>
                    <a:cubicBezTo>
                      <a:pt x="448" y="76"/>
                      <a:pt x="415" y="76"/>
                      <a:pt x="377" y="76"/>
                    </a:cubicBezTo>
                    <a:cubicBezTo>
                      <a:pt x="402" y="144"/>
                      <a:pt x="397" y="205"/>
                      <a:pt x="341" y="254"/>
                    </a:cubicBezTo>
                    <a:cubicBezTo>
                      <a:pt x="311" y="280"/>
                      <a:pt x="274" y="289"/>
                      <a:pt x="235" y="286"/>
                    </a:cubicBezTo>
                    <a:cubicBezTo>
                      <a:pt x="185" y="282"/>
                      <a:pt x="150" y="254"/>
                      <a:pt x="125" y="212"/>
                    </a:cubicBezTo>
                    <a:cubicBezTo>
                      <a:pt x="100" y="169"/>
                      <a:pt x="107" y="124"/>
                      <a:pt x="124" y="77"/>
                    </a:cubicBezTo>
                    <a:cubicBezTo>
                      <a:pt x="90" y="77"/>
                      <a:pt x="59" y="77"/>
                      <a:pt x="29" y="77"/>
                    </a:cubicBezTo>
                    <a:cubicBezTo>
                      <a:pt x="3" y="76"/>
                      <a:pt x="0" y="71"/>
                      <a:pt x="10" y="47"/>
                    </a:cubicBezTo>
                    <a:cubicBezTo>
                      <a:pt x="20" y="22"/>
                      <a:pt x="39" y="8"/>
                      <a:pt x="65" y="4"/>
                    </a:cubicBezTo>
                    <a:cubicBezTo>
                      <a:pt x="93" y="0"/>
                      <a:pt x="115" y="9"/>
                      <a:pt x="132" y="31"/>
                    </a:cubicBezTo>
                    <a:cubicBezTo>
                      <a:pt x="136" y="36"/>
                      <a:pt x="140" y="42"/>
                      <a:pt x="145" y="49"/>
                    </a:cubicBezTo>
                    <a:cubicBezTo>
                      <a:pt x="175" y="20"/>
                      <a:pt x="209" y="3"/>
                      <a:pt x="250" y="3"/>
                    </a:cubicBezTo>
                    <a:cubicBezTo>
                      <a:pt x="291" y="4"/>
                      <a:pt x="325" y="19"/>
                      <a:pt x="356" y="5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58" name="Freeform 41"/>
              <p:cNvSpPr>
                <a:spLocks/>
              </p:cNvSpPr>
              <p:nvPr/>
            </p:nvSpPr>
            <p:spPr bwMode="auto">
              <a:xfrm>
                <a:off x="-523640" y="7491409"/>
                <a:ext cx="903287" cy="900110"/>
              </a:xfrm>
              <a:custGeom>
                <a:avLst/>
                <a:gdLst>
                  <a:gd name="T0" fmla="*/ 143 w 284"/>
                  <a:gd name="T1" fmla="*/ 0 h 283"/>
                  <a:gd name="T2" fmla="*/ 283 w 284"/>
                  <a:gd name="T3" fmla="*/ 141 h 283"/>
                  <a:gd name="T4" fmla="*/ 140 w 284"/>
                  <a:gd name="T5" fmla="*/ 282 h 283"/>
                  <a:gd name="T6" fmla="*/ 0 w 284"/>
                  <a:gd name="T7" fmla="*/ 140 h 283"/>
                  <a:gd name="T8" fmla="*/ 143 w 284"/>
                  <a:gd name="T9" fmla="*/ 0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4" h="283">
                    <a:moveTo>
                      <a:pt x="143" y="0"/>
                    </a:moveTo>
                    <a:cubicBezTo>
                      <a:pt x="222" y="0"/>
                      <a:pt x="284" y="63"/>
                      <a:pt x="283" y="141"/>
                    </a:cubicBezTo>
                    <a:cubicBezTo>
                      <a:pt x="283" y="220"/>
                      <a:pt x="219" y="283"/>
                      <a:pt x="140" y="282"/>
                    </a:cubicBezTo>
                    <a:cubicBezTo>
                      <a:pt x="61" y="281"/>
                      <a:pt x="0" y="219"/>
                      <a:pt x="0" y="140"/>
                    </a:cubicBezTo>
                    <a:cubicBezTo>
                      <a:pt x="1" y="60"/>
                      <a:pt x="62" y="0"/>
                      <a:pt x="14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20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500"/>
                            </p:stCondLst>
                            <p:childTnLst>
                              <p:par>
                                <p:cTn id="1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3000"/>
                            </p:stCondLst>
                            <p:childTnLst>
                              <p:par>
                                <p:cTn id="2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3500"/>
                            </p:stCondLst>
                            <p:childTnLst>
                              <p:par>
                                <p:cTn id="2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4000"/>
                            </p:stCondLst>
                            <p:childTnLst>
                              <p:par>
                                <p:cTn id="28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4500"/>
                            </p:stCondLst>
                            <p:childTnLst>
                              <p:par>
                                <p:cTn id="3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0"/>
                            </p:stCondLst>
                            <p:childTnLst>
                              <p:par>
                                <p:cTn id="3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500"/>
                            </p:stCondLst>
                            <p:childTnLst>
                              <p:par>
                                <p:cTn id="4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6000"/>
                            </p:stCondLst>
                            <p:childTnLst>
                              <p:par>
                                <p:cTn id="4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6500"/>
                            </p:stCondLst>
                            <p:childTnLst>
                              <p:par>
                                <p:cTn id="4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7000"/>
                            </p:stCondLst>
                            <p:childTnLst>
                              <p:par>
                                <p:cTn id="52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7500"/>
                            </p:stCondLst>
                            <p:childTnLst>
                              <p:par>
                                <p:cTn id="5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6" grpId="0">
        <p:bldAsOne/>
      </p:bldGraphic>
      <p:bldP spid="7" grpId="0" animBg="1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ведения о расходах с учетом интересов целевых групп в социально-культурной сфере города-курорта Железноводска Ставропольского края</a:t>
            </a: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ддержка инвалидов</a:t>
            </a:r>
          </a:p>
          <a:p>
            <a:pPr algn="just"/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 предоставление мер социальной поддержки, социальное обеспечение инвалидов в 2022 году и плановом периоде 2023-2024 </a:t>
            </a:r>
            <a:r>
              <a:rPr lang="ru-RU" sz="14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г</a:t>
            </a: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1" name="Таблица 60"/>
          <p:cNvGraphicFramePr>
            <a:graphicFrameLocks noGrp="1"/>
          </p:cNvGraphicFramePr>
          <p:nvPr/>
        </p:nvGraphicFramePr>
        <p:xfrm>
          <a:off x="285728" y="3524240"/>
          <a:ext cx="6357982" cy="3714776"/>
        </p:xfrm>
        <a:graphic>
          <a:graphicData uri="http://schemas.openxmlformats.org/drawingml/2006/table">
            <a:tbl>
              <a:tblPr/>
              <a:tblGrid>
                <a:gridCol w="1643074"/>
                <a:gridCol w="857256"/>
                <a:gridCol w="793564"/>
                <a:gridCol w="842624"/>
                <a:gridCol w="689420"/>
                <a:gridCol w="817664"/>
                <a:gridCol w="714380"/>
              </a:tblGrid>
              <a:tr h="817600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Наименование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2022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2023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2024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33715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Количество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Получателей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размер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выплат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Объем 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расходов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 тыс.руб.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Количество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Получателей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размер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выплат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Объем 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расходов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тыс.руб.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Количество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Получателей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размер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выплат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Объем расходов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 тыс.руб.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60018">
                <a:tc>
                  <a:txBody>
                    <a:bodyPr/>
                    <a:lstStyle/>
                    <a:p>
                      <a:pPr indent="450215" algn="just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Ежемесячная доплата к пенсии гражданам, ставшим инвалидами при исполнении служебных обязанностей в районах боевых действий;</a:t>
                      </a:r>
                      <a:endParaRPr lang="ru-RU" sz="1000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1 человек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на 1 чел. 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В месяц 926,16 руб.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11,11 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1 человек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на 1 чел. 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В месяц 926,16 руб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11,11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1 человек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на 1 чел. 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В месяц 926,16 руб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latin typeface="Times New Roman"/>
                          <a:ea typeface="Times New Roman"/>
                          <a:cs typeface="Times New Roman"/>
                        </a:rPr>
                        <a:t>11,11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ддержка отдельных категорий  граждан</a:t>
            </a: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/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 предоставление мер социальной поддержки, социальное обеспечение отдельных категорий граждан (ветеранов, пенсионеров и других категорий населения) в 2022 году и плановом период е 2023-2024 гг.</a:t>
            </a:r>
          </a:p>
          <a:p>
            <a:pPr indent="450850" algn="just"/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357166" y="3167050"/>
          <a:ext cx="6215107" cy="5338321"/>
        </p:xfrm>
        <a:graphic>
          <a:graphicData uri="http://schemas.openxmlformats.org/drawingml/2006/table">
            <a:tbl>
              <a:tblPr/>
              <a:tblGrid>
                <a:gridCol w="1357322"/>
                <a:gridCol w="1214446"/>
                <a:gridCol w="685771"/>
                <a:gridCol w="742990"/>
                <a:gridCol w="714380"/>
                <a:gridCol w="714380"/>
                <a:gridCol w="785818"/>
              </a:tblGrid>
              <a:tr h="180214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Наименование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2022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2023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2024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89090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Получателей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размер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выплат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Объем 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расходов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 тыс.руб.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Получателей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размер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выплат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Объем 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расходов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 тыс.руб.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Получателей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размер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выплат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Объем 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расходов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 тыс.руб.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56363">
                <a:tc>
                  <a:txBody>
                    <a:bodyPr/>
                    <a:lstStyle/>
                    <a:p>
                      <a:pPr marL="0" indent="0" algn="l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Ежемесячная денежная выплата</a:t>
                      </a:r>
                      <a:endParaRPr lang="ru-RU" sz="1000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12726">
                <a:tc>
                  <a:txBody>
                    <a:bodyPr/>
                    <a:lstStyle/>
                    <a:p>
                      <a:pPr indent="457200" algn="l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ветеранам труда и труженикам тыла;</a:t>
                      </a:r>
                      <a:endParaRPr lang="ru-RU" sz="1000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2759 человек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2 человека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на 1 чел.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 В месяц 1789,28 руб.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56803,4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В месяц 1789,28 руб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56803,4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В месяц 1789,28 руб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56803,4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34544">
                <a:tc>
                  <a:txBody>
                    <a:bodyPr/>
                    <a:lstStyle/>
                    <a:p>
                      <a:pPr indent="457200" algn="l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ветеранам труда Ставропольского края</a:t>
                      </a:r>
                      <a:endParaRPr lang="ru-RU" sz="1000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1983человека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на 1 чел.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 В месяц 1789,28 руб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latin typeface="Times New Roman"/>
                          <a:ea typeface="Times New Roman"/>
                          <a:cs typeface="Times New Roman"/>
                        </a:rPr>
                        <a:t>39583,25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В месяц 1789,28 руб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39583,25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В месяц 1789,28 руб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40583,25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12726">
                <a:tc>
                  <a:txBody>
                    <a:bodyPr/>
                    <a:lstStyle/>
                    <a:p>
                      <a:pPr indent="457200" algn="l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реабилитированным лицам и лицам, признанным пострадавшими от политических репрессий;</a:t>
                      </a:r>
                      <a:endParaRPr lang="ru-RU" sz="1000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73 человека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на 1 чел.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 В месяц 1789,28 руб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1655,18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В месяц 1789,28 руб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1655,18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В месяц 1789,28 руб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1655,18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34544">
                <a:tc>
                  <a:txBody>
                    <a:bodyPr/>
                    <a:lstStyle/>
                    <a:p>
                      <a:pPr indent="457200" algn="l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семьям погибших ветеранов боевых действий;</a:t>
                      </a:r>
                      <a:endParaRPr lang="ru-RU" sz="1000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7 человек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на 1 чел.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 В месяц 926,16 руб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77,80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В месяц 926,16 руб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77,80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В месяц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 926,16 руб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77,80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12726">
                <a:tc>
                  <a:txBody>
                    <a:bodyPr/>
                    <a:lstStyle/>
                    <a:p>
                      <a:pPr indent="457200" algn="l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Государственная социальная помощь малоимущим семьям и малоимущим одиноко проживающим гражданам;</a:t>
                      </a:r>
                      <a:endParaRPr lang="ru-RU" sz="1000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280 человек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74320" indent="-274320"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1085,63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74320" indent="-274320"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74320" indent="-274320"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1085,63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74320" indent="-274320"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74320" indent="-274320"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latin typeface="Times New Roman"/>
                          <a:ea typeface="Times New Roman"/>
                          <a:cs typeface="Times New Roman"/>
                        </a:rPr>
                        <a:t>1085,63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ддержка отдельных категорий  граждан на 2022 год и плановый период 2023-2024 годы</a:t>
            </a: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357166" y="2595546"/>
          <a:ext cx="6215084" cy="5319722"/>
        </p:xfrm>
        <a:graphic>
          <a:graphicData uri="http://schemas.openxmlformats.org/drawingml/2006/table">
            <a:tbl>
              <a:tblPr/>
              <a:tblGrid>
                <a:gridCol w="1214424"/>
                <a:gridCol w="928694"/>
                <a:gridCol w="1000132"/>
                <a:gridCol w="642942"/>
                <a:gridCol w="1000132"/>
                <a:gridCol w="642942"/>
                <a:gridCol w="785818"/>
              </a:tblGrid>
              <a:tr h="276225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Наименование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2022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2023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2024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08109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Получателей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размер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выплат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Объем 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расходов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 тыс.руб.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Получателей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размер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выплат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Объем 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расходов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 тыс.руб.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Получателей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размер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выплат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Объем 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расходов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 тыс.руб.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85807">
                <a:tc>
                  <a:txBody>
                    <a:bodyPr/>
                    <a:lstStyle/>
                    <a:p>
                      <a:pPr marL="0" indent="0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Компенсация расходов по оплате жилищно-коммунальных услуг отдельным категориям граждан;</a:t>
                      </a:r>
                      <a:endParaRPr lang="ru-RU" sz="1000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latin typeface="Times New Roman"/>
                          <a:ea typeface="Times New Roman"/>
                          <a:cs typeface="Times New Roman"/>
                        </a:rPr>
                        <a:t>2510 человек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latin typeface="Times New Roman"/>
                          <a:ea typeface="Times New Roman"/>
                          <a:cs typeface="Times New Roman"/>
                        </a:rPr>
                        <a:t>.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30382,44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30382,44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30382,44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174765">
                <a:tc>
                  <a:txBody>
                    <a:bodyPr/>
                    <a:lstStyle/>
                    <a:p>
                      <a:pPr marL="0" indent="0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Предоставление компенсация расходов на уплату взноса на капитальный ремонт общего имущества  в многоквартирном доме отдельным категориям граждан</a:t>
                      </a:r>
                      <a:endParaRPr lang="ru-RU" sz="1000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latin typeface="Times New Roman"/>
                          <a:ea typeface="Times New Roman"/>
                          <a:cs typeface="Times New Roman"/>
                        </a:rPr>
                        <a:t>629 человека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00">
                          <a:latin typeface="Times New Roman"/>
                          <a:ea typeface="Times New Roman"/>
                          <a:cs typeface="Times New Roman"/>
                        </a:rPr>
                        <a:t>1646.84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00">
                          <a:latin typeface="Times New Roman"/>
                          <a:ea typeface="Times New Roman"/>
                          <a:cs typeface="Times New Roman"/>
                        </a:rPr>
                        <a:t>1646.85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00">
                          <a:latin typeface="Times New Roman"/>
                          <a:ea typeface="Times New Roman"/>
                          <a:cs typeface="Times New Roman"/>
                        </a:rPr>
                        <a:t>1646.85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039813">
                <a:tc>
                  <a:txBody>
                    <a:bodyPr/>
                    <a:lstStyle/>
                    <a:p>
                      <a:pPr marL="0" indent="0" algn="just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Ежегодная денежная выплата лицам, награжденным знаком «Почетный донор СССР», «Почетный донор России».</a:t>
                      </a:r>
                      <a:endParaRPr lang="ru-RU" sz="1000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latin typeface="Times New Roman"/>
                          <a:ea typeface="Times New Roman"/>
                          <a:cs typeface="Times New Roman"/>
                        </a:rPr>
                        <a:t>213 человека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latin typeface="Times New Roman"/>
                          <a:ea typeface="Times New Roman"/>
                          <a:cs typeface="Times New Roman"/>
                        </a:rPr>
                        <a:t>на 1 чел.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latin typeface="Times New Roman"/>
                          <a:ea typeface="Times New Roman"/>
                          <a:cs typeface="Times New Roman"/>
                        </a:rPr>
                        <a:t> В месяц 15109,46 руб.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00" dirty="0">
                          <a:latin typeface="Times New Roman"/>
                          <a:ea typeface="Times New Roman"/>
                          <a:cs typeface="Times New Roman"/>
                        </a:rPr>
                        <a:t>3198.48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3326,75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latin typeface="Times New Roman"/>
                          <a:ea typeface="Times New Roman"/>
                          <a:cs typeface="Times New Roman"/>
                        </a:rPr>
                        <a:t>3326,63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ддержка отдельных категорий  граждан на 2022 год и плановый период 2023-2024 годы</a:t>
            </a: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642918" y="2214565"/>
          <a:ext cx="5929354" cy="4429129"/>
        </p:xfrm>
        <a:graphic>
          <a:graphicData uri="http://schemas.openxmlformats.org/drawingml/2006/table">
            <a:tbl>
              <a:tblPr/>
              <a:tblGrid>
                <a:gridCol w="1428760"/>
                <a:gridCol w="785818"/>
                <a:gridCol w="642942"/>
                <a:gridCol w="642942"/>
                <a:gridCol w="1000132"/>
                <a:gridCol w="642942"/>
                <a:gridCol w="785818"/>
              </a:tblGrid>
              <a:tr h="276225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Наименование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2022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2023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2024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08109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Получателей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размер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выплат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Объем 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расходов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 тыс.руб.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Получателей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размер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выплат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Объем 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расходов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 тыс.руб.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Получателей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размер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выплат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Объем 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расходов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 тыс.руб.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85807">
                <a:tc>
                  <a:txBody>
                    <a:bodyPr/>
                    <a:lstStyle/>
                    <a:p>
                      <a:pPr marL="0" indent="0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Выплата субсидии на оплату жилого помещения и</a:t>
                      </a:r>
                      <a:endParaRPr lang="ru-RU" sz="1000" dirty="0">
                        <a:latin typeface="Arial"/>
                        <a:ea typeface="Times New Roman"/>
                        <a:cs typeface="Times New Roman"/>
                      </a:endParaRPr>
                    </a:p>
                    <a:p>
                      <a:pPr indent="457200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 коммунальных услуг</a:t>
                      </a:r>
                      <a:endParaRPr lang="ru-RU" sz="1000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1103 человек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33984,03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36085,10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35239,92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174765">
                <a:tc>
                  <a:txBody>
                    <a:bodyPr/>
                    <a:lstStyle/>
                    <a:p>
                      <a:pPr marL="0" indent="0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Субвенция на выплату ежегодной денежной компенсации многодетным семьям  на каждого из детей не старше 18-ти лет, обучающихся в общеобразовательных организациях, на приобретение комплекта школьной одежды, , спортивной одежды и обуви и школьных принадлежностей</a:t>
                      </a:r>
                      <a:endParaRPr lang="ru-RU" sz="1000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528 заявителей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Разовая выплата-5000,00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latin typeface="Times New Roman"/>
                          <a:ea typeface="Times New Roman"/>
                          <a:cs typeface="Times New Roman"/>
                        </a:rPr>
                        <a:t>4131,62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4296,88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latin typeface="Times New Roman"/>
                          <a:ea typeface="Times New Roman"/>
                          <a:cs typeface="Times New Roman"/>
                        </a:rPr>
                        <a:t>4468,76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ддержка материнства и детства на 2022 год и плановый период 2023-2024 годы</a:t>
            </a: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642918" y="1670049"/>
          <a:ext cx="5929354" cy="7235859"/>
        </p:xfrm>
        <a:graphic>
          <a:graphicData uri="http://schemas.openxmlformats.org/drawingml/2006/table">
            <a:tbl>
              <a:tblPr/>
              <a:tblGrid>
                <a:gridCol w="1785950"/>
                <a:gridCol w="714380"/>
                <a:gridCol w="714380"/>
                <a:gridCol w="642942"/>
                <a:gridCol w="642942"/>
                <a:gridCol w="642942"/>
                <a:gridCol w="785818"/>
              </a:tblGrid>
              <a:tr h="276225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08109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85807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Выплата ежемесячного пособия на ребенка 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1375 человек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17287,17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17995,98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18704,790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174765">
                <a:tc>
                  <a:txBody>
                    <a:bodyPr/>
                    <a:lstStyle/>
                    <a:p>
                      <a:pPr indent="457200" algn="just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Ежемесячная выплата многодетным семьям;</a:t>
                      </a:r>
                      <a:endParaRPr lang="ru-RU" sz="10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521 человека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на 1 чел.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 В месяц 700,00 руб.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16232,15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17308,05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18453,56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174765">
                <a:tc>
                  <a:txBody>
                    <a:bodyPr/>
                    <a:lstStyle/>
                    <a:p>
                      <a:pPr indent="457200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Выплата ежегодного социального пособия на проезд учащимся (студентам)</a:t>
                      </a:r>
                      <a:endParaRPr lang="ru-RU" sz="10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27 человек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на 1 чел.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 В месяц 1402,53 руб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29,54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30,72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31,95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174765">
                <a:tc>
                  <a:txBody>
                    <a:bodyPr/>
                    <a:lstStyle/>
                    <a:p>
                      <a:pPr indent="457200" algn="just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Ежемесячная денежная выплата нуждающимся в поддержке семьям, назначаемая в случае рождения в них после 31 декабря 2012 года третьего ребенка или последующих детей до достижения ребенком возраста трех лет;</a:t>
                      </a:r>
                      <a:endParaRPr lang="ru-RU" sz="10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214 человек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на 1 чел.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 В месяц 10621,00 руб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19299,22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23344,02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25795,31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174765">
                <a:tc>
                  <a:txBody>
                    <a:bodyPr/>
                    <a:lstStyle/>
                    <a:p>
                      <a:pPr indent="457200" algn="just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Выплата пособия по уходу за ребенком до достижения им возраста полутора лет лицам, не подлежащим обязательному социальному страхованию на случай временной нетрудоспособности и в связи с материнством;</a:t>
                      </a:r>
                      <a:endParaRPr lang="ru-RU" sz="10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1964 человек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7082,85 руб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33297,94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74320" indent="-274320"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74320" indent="-274320"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marL="274320" indent="-274320"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34683,44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74320" indent="-274320"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74320" indent="-274320" algn="ctr">
                        <a:spcAft>
                          <a:spcPts val="0"/>
                        </a:spcAft>
                      </a:pP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marL="274320" indent="-274320"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latin typeface="Times New Roman"/>
                          <a:ea typeface="Times New Roman"/>
                          <a:cs typeface="Times New Roman"/>
                        </a:rPr>
                        <a:t>34683,44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ддержка материнства и детства на 2022 год и плановый период 2023-2024 годы</a:t>
            </a: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642918" y="1670049"/>
          <a:ext cx="5929354" cy="4926052"/>
        </p:xfrm>
        <a:graphic>
          <a:graphicData uri="http://schemas.openxmlformats.org/drawingml/2006/table">
            <a:tbl>
              <a:tblPr/>
              <a:tblGrid>
                <a:gridCol w="1785950"/>
                <a:gridCol w="714380"/>
                <a:gridCol w="714380"/>
                <a:gridCol w="642942"/>
                <a:gridCol w="642942"/>
                <a:gridCol w="642942"/>
                <a:gridCol w="785818"/>
              </a:tblGrid>
              <a:tr h="276225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08109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85807">
                <a:tc>
                  <a:txBody>
                    <a:bodyPr/>
                    <a:lstStyle/>
                    <a:p>
                      <a:pPr marL="0" indent="0" algn="just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Выплата единовременного пособия при рождении ребенка лицам, не подлежащим обязательному социальному страхованию на случай временной нетрудоспособности и в связи с материнством;</a:t>
                      </a:r>
                      <a:endParaRPr lang="ru-RU" sz="1000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112 человек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на 1 чел.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разовая выплата 18886,32 руб.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2032,12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2032,12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2032,12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174765">
                <a:tc>
                  <a:txBody>
                    <a:bodyPr/>
                    <a:lstStyle/>
                    <a:p>
                      <a:pPr marL="0" indent="0" algn="just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Выплата </a:t>
                      </a:r>
                      <a:r>
                        <a:rPr lang="ru-RU" sz="10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денежных средств на содержание ребенка опекуну (попечителю); </a:t>
                      </a:r>
                      <a:endParaRPr lang="ru-RU" sz="1000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latin typeface="Times New Roman"/>
                          <a:ea typeface="Times New Roman"/>
                          <a:cs typeface="Times New Roman"/>
                        </a:rPr>
                        <a:t>47 человек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latin typeface="Times New Roman"/>
                          <a:ea typeface="Times New Roman"/>
                          <a:cs typeface="Times New Roman"/>
                        </a:rPr>
                        <a:t>на 1 чел.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latin typeface="Times New Roman"/>
                          <a:ea typeface="Times New Roman"/>
                          <a:cs typeface="Times New Roman"/>
                        </a:rPr>
                        <a:t> В месяц </a:t>
                      </a:r>
                      <a:r>
                        <a:rPr lang="ru-RU" sz="1000" dirty="0" smtClean="0">
                          <a:latin typeface="Times New Roman"/>
                          <a:ea typeface="Times New Roman"/>
                          <a:cs typeface="Times New Roman"/>
                        </a:rPr>
                        <a:t>6</a:t>
                      </a:r>
                      <a:r>
                        <a:rPr lang="ru-RU" sz="1000" baseline="0" dirty="0" smtClean="0">
                          <a:latin typeface="Times New Roman"/>
                          <a:ea typeface="Times New Roman"/>
                          <a:cs typeface="Times New Roman"/>
                        </a:rPr>
                        <a:t>879,22 </a:t>
                      </a:r>
                      <a:r>
                        <a:rPr lang="ru-RU" sz="1000" dirty="0" err="1" smtClean="0">
                          <a:latin typeface="Times New Roman"/>
                          <a:ea typeface="Times New Roman"/>
                          <a:cs typeface="Times New Roman"/>
                        </a:rPr>
                        <a:t>руб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Times New Roman"/>
                          <a:ea typeface="Times New Roman"/>
                          <a:cs typeface="Times New Roman"/>
                        </a:rPr>
                        <a:t>3879,88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Times New Roman"/>
                          <a:ea typeface="Times New Roman"/>
                          <a:cs typeface="Times New Roman"/>
                        </a:rPr>
                        <a:t>3879,26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Times New Roman"/>
                          <a:ea typeface="Times New Roman"/>
                          <a:cs typeface="Times New Roman"/>
                        </a:rPr>
                        <a:t>4184,67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174765">
                <a:tc>
                  <a:txBody>
                    <a:bodyPr/>
                    <a:lstStyle/>
                    <a:p>
                      <a:pPr marL="0" indent="0" algn="just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Выплата</a:t>
                      </a:r>
                      <a:r>
                        <a:rPr lang="ru-RU" sz="1000" baseline="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ru-RU" sz="100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единовременных </a:t>
                      </a:r>
                      <a:r>
                        <a:rPr lang="ru-RU" sz="10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пособий усыновителям.</a:t>
                      </a:r>
                      <a:endParaRPr lang="ru-RU" sz="1000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Times New Roman"/>
                          <a:ea typeface="Times New Roman"/>
                          <a:cs typeface="Times New Roman"/>
                        </a:rPr>
                        <a:t>1 </a:t>
                      </a:r>
                      <a:r>
                        <a:rPr lang="ru-RU" sz="1000" dirty="0">
                          <a:latin typeface="Times New Roman"/>
                          <a:ea typeface="Times New Roman"/>
                          <a:cs typeface="Times New Roman"/>
                        </a:rPr>
                        <a:t>человек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latin typeface="Times New Roman"/>
                          <a:ea typeface="Times New Roman"/>
                          <a:cs typeface="Times New Roman"/>
                        </a:rPr>
                        <a:t>на 1 чел.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latin typeface="Times New Roman"/>
                          <a:ea typeface="Times New Roman"/>
                          <a:cs typeface="Times New Roman"/>
                        </a:rPr>
                        <a:t> разовая </a:t>
                      </a:r>
                      <a:r>
                        <a:rPr lang="ru-RU" sz="1000" dirty="0" smtClean="0">
                          <a:latin typeface="Times New Roman"/>
                          <a:ea typeface="Times New Roman"/>
                          <a:cs typeface="Times New Roman"/>
                        </a:rPr>
                        <a:t>выплата 150,0тыс</a:t>
                      </a:r>
                      <a:r>
                        <a:rPr lang="ru-RU" sz="1000" dirty="0">
                          <a:latin typeface="Times New Roman"/>
                          <a:ea typeface="Times New Roman"/>
                          <a:cs typeface="Times New Roman"/>
                        </a:rPr>
                        <a:t>. </a:t>
                      </a:r>
                      <a:r>
                        <a:rPr lang="ru-RU" sz="1000" dirty="0" err="1">
                          <a:latin typeface="Times New Roman"/>
                          <a:ea typeface="Times New Roman"/>
                          <a:cs typeface="Times New Roman"/>
                        </a:rPr>
                        <a:t>руб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Times New Roman"/>
                          <a:ea typeface="Times New Roman"/>
                          <a:cs typeface="Times New Roman"/>
                        </a:rPr>
                        <a:t>150,0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здел «Физическая культура и спорт»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расль физической культуры и спорта в городе-курорте Железноводске Ставропольского края представляет спортивно-оздоровительный комплекс МБУ «Железноводск».</a:t>
            </a: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b="1" dirty="0" smtClean="0">
              <a:solidFill>
                <a:schemeClr val="accent1">
                  <a:lumMod val="50000"/>
                </a:schemeClr>
              </a:solidFill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b="1" dirty="0" smtClean="0">
              <a:solidFill>
                <a:schemeClr val="accent1">
                  <a:lumMod val="50000"/>
                </a:schemeClr>
              </a:solidFill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b="1" dirty="0" smtClean="0">
              <a:solidFill>
                <a:schemeClr val="accent1">
                  <a:lumMod val="50000"/>
                </a:schemeClr>
              </a:solidFill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b="1" dirty="0" smtClean="0">
              <a:solidFill>
                <a:schemeClr val="accent1">
                  <a:lumMod val="50000"/>
                </a:schemeClr>
              </a:solidFill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Структура расходов бюджета по физической культуре и спорту в 2020-2024 годах</a:t>
            </a:r>
            <a:endParaRPr lang="ru-RU" sz="1400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AutoShape 2"/>
          <p:cNvSpPr>
            <a:spLocks noChangeArrowheads="1"/>
          </p:cNvSpPr>
          <p:nvPr/>
        </p:nvSpPr>
        <p:spPr bwMode="auto">
          <a:xfrm>
            <a:off x="857208" y="2166918"/>
            <a:ext cx="6000792" cy="73818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</p:spPr>
        <p:txBody>
          <a:bodyPr anchor="ctr">
            <a:flatTx/>
          </a:bodyPr>
          <a:lstStyle/>
          <a:p>
            <a:endParaRPr lang="ru-RU" sz="1800" dirty="0">
              <a:solidFill>
                <a:schemeClr val="accent1">
                  <a:lumMod val="50000"/>
                </a:schemeClr>
              </a:solidFill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857232" y="3881430"/>
          <a:ext cx="5500726" cy="2638426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500066"/>
                <a:gridCol w="1364822"/>
                <a:gridCol w="778318"/>
                <a:gridCol w="857256"/>
                <a:gridCol w="714380"/>
                <a:gridCol w="642942"/>
                <a:gridCol w="642942"/>
              </a:tblGrid>
              <a:tr h="49530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дел, подраздел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ы финансового обеспечения по годам (млн. рублей)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413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д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(факт)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(оценка)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(проект)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(проект)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(проект)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</a:tr>
              <a:tr h="3349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 00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Физическая культура и спорт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7,0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9,13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19,90</a:t>
                      </a:r>
                      <a:endParaRPr lang="ru-RU" sz="11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18,2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17,68</a:t>
                      </a:r>
                    </a:p>
                  </a:txBody>
                  <a:tcPr marL="7620" marR="7620" marT="7620" marB="0" anchor="ctr"/>
                </a:tc>
              </a:tr>
              <a:tr h="2857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 01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Физическая культура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5,1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,40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17,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15,9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15,36</a:t>
                      </a:r>
                    </a:p>
                  </a:txBody>
                  <a:tcPr marL="7620" marR="7620" marT="7620" marB="0" anchor="ctr"/>
                </a:tc>
              </a:tr>
              <a:tr h="2857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 02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ассовый спорт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,4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80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0,8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0,4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0,41</a:t>
                      </a:r>
                    </a:p>
                  </a:txBody>
                  <a:tcPr marL="7620" marR="7620" marT="7620" marB="0" anchor="ctr"/>
                </a:tc>
              </a:tr>
              <a:tr h="4953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 05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ругие вопросы в области физической культуры и спорта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,4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93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1,9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1,9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1,91</a:t>
                      </a:r>
                    </a:p>
                  </a:txBody>
                  <a:tcPr marL="7620" marR="7620" marT="7620" marB="0" anchor="ctr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642918" y="380968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defRPr/>
            </a:pPr>
            <a:r>
              <a:rPr lang="ru-RU" b="1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ДОХОДЫ БЮДЖЕТА</a:t>
            </a:r>
          </a:p>
          <a:p>
            <a:pPr algn="ctr">
              <a:defRPr/>
            </a:pPr>
            <a:endParaRPr lang="ru-RU" sz="2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 соответствии с Бюджетным кодексом Российской Федерации доходы бюджетов образуются за счет налоговых и неналоговых доходов, а также за счет безвозмездных поступлений.</a:t>
            </a:r>
          </a:p>
          <a:p>
            <a:pPr indent="447675" algn="just"/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логовые доходы, поступающие в бюджет города Железноводска</a:t>
            </a: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>
              <a:buFontTx/>
              <a:buChar char="-"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>
              <a:buFontTx/>
              <a:buChar char="-"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ru-RU" sz="2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spcBef>
                <a:spcPts val="0"/>
              </a:spcBef>
              <a:buClr>
                <a:srgbClr val="ED520D"/>
              </a:buClr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spcBef>
                <a:spcPts val="0"/>
              </a:spcBef>
              <a:buClr>
                <a:srgbClr val="ED520D"/>
              </a:buClr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ru-RU" sz="2800" b="1" dirty="0">
              <a:solidFill>
                <a:schemeClr val="tx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928670" y="2952736"/>
            <a:ext cx="1000132" cy="4714908"/>
          </a:xfrm>
          <a:prstGeom prst="roundRect">
            <a:avLst>
              <a:gd name="adj" fmla="val 10513"/>
            </a:avLst>
          </a:prstGeom>
          <a:ln w="762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vert270" anchor="ctr"/>
          <a:lstStyle/>
          <a:p>
            <a:pPr marL="0" lvl="1" algn="ctr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ЛОГОВЫЕ ДОХОДЫ ГОРОДА ЖЕЛЕЗНОВОДСКА</a:t>
            </a:r>
            <a:endParaRPr lang="ru-RU" sz="1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2285992" y="2952736"/>
            <a:ext cx="4143404" cy="928694"/>
          </a:xfrm>
          <a:prstGeom prst="roundRect">
            <a:avLst/>
          </a:prstGeom>
          <a:noFill/>
          <a:ln w="76200"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anchor="t"/>
          <a:lstStyle/>
          <a:p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ЕСТНЫЕ НАЛОГИ</a:t>
            </a:r>
          </a:p>
          <a:p>
            <a:pPr marL="92075" indent="-92075"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налог на имущество физических лиц</a:t>
            </a:r>
          </a:p>
          <a:p>
            <a:pPr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земельный налог</a:t>
            </a:r>
          </a:p>
          <a:p>
            <a:pPr>
              <a:buFontTx/>
              <a:buChar char="-"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87313" lvl="1" algn="ctr">
              <a:tabLst>
                <a:tab pos="6719888" algn="l"/>
                <a:tab pos="6908800" algn="l"/>
              </a:tabLst>
              <a:defRPr/>
            </a:pPr>
            <a:endParaRPr lang="ru-RU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87313" lvl="1" algn="ctr">
              <a:tabLst>
                <a:tab pos="6719888" algn="l"/>
                <a:tab pos="6908800" algn="l"/>
              </a:tabLst>
              <a:defRPr/>
            </a:pPr>
            <a:endParaRPr lang="ru-RU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87313" lvl="1" algn="ctr">
              <a:tabLst>
                <a:tab pos="6719888" algn="l"/>
                <a:tab pos="6908800" algn="l"/>
              </a:tabLst>
              <a:defRPr/>
            </a:pP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2285992" y="4095744"/>
            <a:ext cx="4143404" cy="1143008"/>
          </a:xfrm>
          <a:prstGeom prst="roundRect">
            <a:avLst/>
          </a:prstGeom>
          <a:noFill/>
          <a:ln w="76200"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t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ФЕДЕРАЛЬНЫЕ НАЛОГИ И СБОРЫ</a:t>
            </a:r>
          </a:p>
          <a:p>
            <a:pPr marL="92075" indent="-92075" algn="just"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лог на доходы физических лиц</a:t>
            </a:r>
          </a:p>
          <a:p>
            <a:pPr marL="92075" indent="-92075" algn="just"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  <a:latin typeface="Times New Roman"/>
              </a:rPr>
              <a:t>государственная пошлина </a:t>
            </a:r>
          </a:p>
          <a:p>
            <a:pPr marL="92075" indent="-92075" algn="just"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  <a:latin typeface="Times New Roman"/>
              </a:rPr>
              <a:t>акцизы </a:t>
            </a: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2285992" y="5381628"/>
            <a:ext cx="4143404" cy="2286016"/>
          </a:xfrm>
          <a:prstGeom prst="roundRect">
            <a:avLst/>
          </a:prstGeom>
          <a:noFill/>
          <a:ln w="76200"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t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ПЕЦИАЛЬНЫЕ НАЛОГОВЫЕ РЕЖИМЫ</a:t>
            </a:r>
          </a:p>
          <a:p>
            <a:pPr marL="92075" indent="-92075" algn="just"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лог, взимаемый в связи с применением упрощенной системы налогообложения</a:t>
            </a:r>
          </a:p>
          <a:p>
            <a:pPr marL="92075" indent="-92075" algn="just"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е</a:t>
            </a:r>
            <a:r>
              <a:rPr lang="ru-RU" sz="1400" dirty="0" smtClean="0">
                <a:solidFill>
                  <a:schemeClr val="tx1"/>
                </a:solidFill>
                <a:latin typeface="Times New Roman"/>
              </a:rPr>
              <a:t>диный налог на вмененный доход для отдельных видов деятельности</a:t>
            </a: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92075" indent="-92075" algn="just"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  <a:latin typeface="Times New Roman"/>
              </a:rPr>
              <a:t>налог, взимаемый в связи с применением патентной системы налогообложения</a:t>
            </a:r>
          </a:p>
          <a:p>
            <a:pPr marL="92075" indent="-92075" algn="just"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  <a:latin typeface="Times New Roman"/>
              </a:rPr>
              <a:t> единый сельскохозяйственный налог</a:t>
            </a:r>
          </a:p>
          <a:p>
            <a:pPr marL="87313" lvl="1" algn="ctr">
              <a:tabLst>
                <a:tab pos="6719888" algn="l"/>
                <a:tab pos="6908800" algn="l"/>
              </a:tabLst>
              <a:defRPr/>
            </a:pPr>
            <a:endParaRPr lang="ru-RU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2" name="Номер слайда 2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5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здел «Физическая культура и спорт»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на Физическую культуру в расчете на 1 жителя города-курорта Железноводска Ставропольского края</a:t>
            </a: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AutoShape 2"/>
          <p:cNvSpPr>
            <a:spLocks noChangeArrowheads="1"/>
          </p:cNvSpPr>
          <p:nvPr/>
        </p:nvSpPr>
        <p:spPr bwMode="auto">
          <a:xfrm>
            <a:off x="857208" y="2166918"/>
            <a:ext cx="6000792" cy="73818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</p:spPr>
        <p:txBody>
          <a:bodyPr anchor="ctr">
            <a:flatTx/>
          </a:bodyPr>
          <a:lstStyle/>
          <a:p>
            <a:endParaRPr lang="ru-RU" sz="1800" dirty="0">
              <a:solidFill>
                <a:schemeClr val="accent1">
                  <a:lumMod val="50000"/>
                </a:schemeClr>
              </a:solidFill>
            </a:endParaRPr>
          </a:p>
        </p:txBody>
      </p:sp>
      <p:graphicFrame>
        <p:nvGraphicFramePr>
          <p:cNvPr id="56322" name="Object 12"/>
          <p:cNvGraphicFramePr>
            <a:graphicFrameLocks noGrp="1" noChangeAspect="1"/>
          </p:cNvGraphicFramePr>
          <p:nvPr/>
        </p:nvGraphicFramePr>
        <p:xfrm>
          <a:off x="430213" y="1593850"/>
          <a:ext cx="6234112" cy="2755900"/>
        </p:xfrm>
        <a:graphic>
          <a:graphicData uri="http://schemas.openxmlformats.org/presentationml/2006/ole">
            <p:oleObj spid="_x0000_s57346" name="Worksheet" r:id="rId3" imgW="7078996" imgH="3825144" progId="Excel.Sheet.8">
              <p:embed/>
            </p:oleObj>
          </a:graphicData>
        </a:graphic>
      </p:graphicFrame>
      <p:sp>
        <p:nvSpPr>
          <p:cNvPr id="9" name="Text Box 7"/>
          <p:cNvSpPr txBox="1">
            <a:spLocks noChangeArrowheads="1"/>
          </p:cNvSpPr>
          <p:nvPr/>
        </p:nvSpPr>
        <p:spPr bwMode="auto">
          <a:xfrm>
            <a:off x="4214818" y="1809728"/>
            <a:ext cx="129381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800" b="1" i="1" dirty="0"/>
              <a:t>млн. рублей</a:t>
            </a:r>
          </a:p>
        </p:txBody>
      </p:sp>
      <p:graphicFrame>
        <p:nvGraphicFramePr>
          <p:cNvPr id="57347" name="Object 3"/>
          <p:cNvGraphicFramePr>
            <a:graphicFrameLocks noGrp="1" noChangeAspect="1"/>
          </p:cNvGraphicFramePr>
          <p:nvPr/>
        </p:nvGraphicFramePr>
        <p:xfrm>
          <a:off x="720725" y="6802438"/>
          <a:ext cx="5846763" cy="2009775"/>
        </p:xfrm>
        <a:graphic>
          <a:graphicData uri="http://schemas.openxmlformats.org/presentationml/2006/ole">
            <p:oleObj spid="_x0000_s57347" name="Worksheet" r:id="rId4" imgW="7071432" imgH="2568024" progId="Excel.Sheet.8">
              <p:embed/>
            </p:oleObj>
          </a:graphicData>
        </a:graphic>
      </p:graphicFrame>
      <p:sp>
        <p:nvSpPr>
          <p:cNvPr id="10" name="Text Box 7"/>
          <p:cNvSpPr txBox="1">
            <a:spLocks noChangeArrowheads="1"/>
          </p:cNvSpPr>
          <p:nvPr/>
        </p:nvSpPr>
        <p:spPr bwMode="auto">
          <a:xfrm>
            <a:off x="5286388" y="6381760"/>
            <a:ext cx="129381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1600" b="1" i="1" dirty="0" smtClean="0"/>
              <a:t>тыс.рублей</a:t>
            </a:r>
            <a:endParaRPr lang="ru-RU" sz="1600" b="1" i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428604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ct val="80000"/>
              </a:lnSpc>
              <a:defRPr/>
            </a:pPr>
            <a:r>
              <a:rPr lang="ru-RU" alt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вышение оплаты труда работников  муниципальных учреждений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1" name="Диаграмма 10"/>
          <p:cNvGraphicFramePr/>
          <p:nvPr>
            <p:extLst>
              <p:ext uri="{D42A27DB-BD31-4B8C-83A1-F6EECF244321}">
                <p14:modId xmlns="" xmlns:p14="http://schemas.microsoft.com/office/powerpoint/2010/main" val="3383263371"/>
              </p:ext>
            </p:extLst>
          </p:nvPr>
        </p:nvGraphicFramePr>
        <p:xfrm>
          <a:off x="214290" y="3881430"/>
          <a:ext cx="5214974" cy="3286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3" name="Прямоугольник 12"/>
          <p:cNvSpPr/>
          <p:nvPr/>
        </p:nvSpPr>
        <p:spPr>
          <a:xfrm>
            <a:off x="1000100" y="3571876"/>
            <a:ext cx="1181293" cy="3796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300"/>
              </a:lnSpc>
            </a:pPr>
            <a:endParaRPr lang="ru-RU" sz="1600" b="1" dirty="0">
              <a:solidFill>
                <a:schemeClr val="bg1"/>
              </a:solidFill>
            </a:endParaRPr>
          </a:p>
        </p:txBody>
      </p:sp>
      <p:sp>
        <p:nvSpPr>
          <p:cNvPr id="24" name="Text Box 5"/>
          <p:cNvSpPr txBox="1">
            <a:spLocks noChangeArrowheads="1"/>
          </p:cNvSpPr>
          <p:nvPr/>
        </p:nvSpPr>
        <p:spPr bwMode="auto">
          <a:xfrm>
            <a:off x="5286388" y="1452538"/>
            <a:ext cx="1373196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grpSp>
        <p:nvGrpSpPr>
          <p:cNvPr id="25" name="Группа 23"/>
          <p:cNvGrpSpPr/>
          <p:nvPr/>
        </p:nvGrpSpPr>
        <p:grpSpPr>
          <a:xfrm>
            <a:off x="753274" y="2024042"/>
            <a:ext cx="5035967" cy="2357454"/>
            <a:chOff x="4000529" y="1245520"/>
            <a:chExt cx="5035967" cy="2040181"/>
          </a:xfrm>
        </p:grpSpPr>
        <p:sp>
          <p:nvSpPr>
            <p:cNvPr id="26" name="Скругленный прямоугольник 25"/>
            <p:cNvSpPr/>
            <p:nvPr>
              <p:custDataLst>
                <p:tags r:id="rId5"/>
              </p:custDataLst>
            </p:nvPr>
          </p:nvSpPr>
          <p:spPr>
            <a:xfrm>
              <a:off x="4000529" y="1343430"/>
              <a:ext cx="5035967" cy="1509505"/>
            </a:xfrm>
            <a:prstGeom prst="roundRect">
              <a:avLst>
                <a:gd name="adj" fmla="val 7127"/>
              </a:avLst>
            </a:prstGeom>
            <a:noFill/>
            <a:ln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7" name="Прямоугольник 26"/>
            <p:cNvSpPr/>
            <p:nvPr/>
          </p:nvSpPr>
          <p:spPr>
            <a:xfrm>
              <a:off x="5791700" y="1245520"/>
              <a:ext cx="2282017" cy="36270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b="1" dirty="0">
                  <a:solidFill>
                    <a:schemeClr val="tx1"/>
                  </a:solidFill>
                </a:rPr>
                <a:t>Целевые категории</a:t>
              </a:r>
            </a:p>
          </p:txBody>
        </p:sp>
        <p:cxnSp>
          <p:nvCxnSpPr>
            <p:cNvPr id="28" name="Прямая соединительная линия 27"/>
            <p:cNvCxnSpPr/>
            <p:nvPr/>
          </p:nvCxnSpPr>
          <p:spPr>
            <a:xfrm rot="10800000" flipV="1">
              <a:off x="4747429" y="2852935"/>
              <a:ext cx="785818" cy="432766"/>
            </a:xfrm>
            <a:prstGeom prst="line">
              <a:avLst/>
            </a:prstGeom>
            <a:ln w="47625" cap="rnd">
              <a:solidFill>
                <a:schemeClr val="accent6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9" name="Таблица 2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707632720"/>
              </p:ext>
            </p:extLst>
          </p:nvPr>
        </p:nvGraphicFramePr>
        <p:xfrm>
          <a:off x="785794" y="2309794"/>
          <a:ext cx="4944688" cy="1500198"/>
        </p:xfrm>
        <a:graphic>
          <a:graphicData uri="http://schemas.openxmlformats.org/drawingml/2006/table">
            <a:tbl>
              <a:tblPr>
                <a:effectLst/>
                <a:tableStyleId>{F5AB1C69-6EDB-4FF4-983F-18BD219EF322}</a:tableStyleId>
              </a:tblPr>
              <a:tblGrid>
                <a:gridCol w="1643074"/>
                <a:gridCol w="857499"/>
                <a:gridCol w="816837"/>
                <a:gridCol w="838855"/>
                <a:gridCol w="788423"/>
              </a:tblGrid>
              <a:tr h="572234">
                <a:tc>
                  <a:txBody>
                    <a:bodyPr/>
                    <a:lstStyle/>
                    <a:p>
                      <a:pPr algn="l" fontAlgn="t">
                        <a:lnSpc>
                          <a:spcPct val="100000"/>
                        </a:lnSpc>
                      </a:pPr>
                      <a:endParaRPr lang="ru-RU" sz="1400" b="1" kern="1200" dirty="0">
                        <a:solidFill>
                          <a:schemeClr val="dk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54000" marR="2993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021 год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022 год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023 год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400" b="1" dirty="0" smtClean="0">
                          <a:solidFill>
                            <a:schemeClr val="tx1"/>
                          </a:solidFill>
                        </a:rPr>
                        <a:t>2024 год</a:t>
                      </a:r>
                      <a:endParaRPr lang="ru-RU" sz="14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927964"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ru-RU" sz="1400" b="1" kern="1200" spc="-20" baseline="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Среднемесячный </a:t>
                      </a:r>
                      <a:r>
                        <a:rPr lang="en-US" sz="1400" b="1" kern="1200" spc="-20" baseline="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400" b="1" kern="1200" spc="-20" baseline="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доход  от</a:t>
                      </a:r>
                      <a:r>
                        <a:rPr lang="en-US" sz="1400" b="1" kern="1200" spc="-20" baseline="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400" b="1" kern="1200" spc="-20" baseline="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 трудовой деятельности (руб.)</a:t>
                      </a:r>
                      <a:endParaRPr lang="ru-RU" sz="1400" b="1" kern="1200" spc="-20" baseline="0" dirty="0">
                        <a:solidFill>
                          <a:schemeClr val="dk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6 250,6</a:t>
                      </a: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8 758,02</a:t>
                      </a:r>
                      <a:endParaRPr lang="ru-RU" sz="1400" b="1" kern="1200" dirty="0">
                        <a:solidFill>
                          <a:schemeClr val="dk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8 758,02</a:t>
                      </a:r>
                      <a:endParaRPr lang="ru-RU" sz="1400" b="1" kern="1200" dirty="0">
                        <a:solidFill>
                          <a:schemeClr val="dk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8 758,02</a:t>
                      </a:r>
                      <a:endParaRPr lang="ru-RU" sz="1400" b="1" dirty="0"/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grpSp>
        <p:nvGrpSpPr>
          <p:cNvPr id="30" name="Группа 19"/>
          <p:cNvGrpSpPr/>
          <p:nvPr/>
        </p:nvGrpSpPr>
        <p:grpSpPr>
          <a:xfrm>
            <a:off x="1281371" y="5524505"/>
            <a:ext cx="4812367" cy="2619007"/>
            <a:chOff x="4355976" y="1818105"/>
            <a:chExt cx="4680518" cy="2619007"/>
          </a:xfrm>
        </p:grpSpPr>
        <p:grpSp>
          <p:nvGrpSpPr>
            <p:cNvPr id="31" name="Группа 6"/>
            <p:cNvGrpSpPr/>
            <p:nvPr/>
          </p:nvGrpSpPr>
          <p:grpSpPr>
            <a:xfrm>
              <a:off x="4355976" y="2961112"/>
              <a:ext cx="4680518" cy="1476000"/>
              <a:chOff x="5807967" y="2961112"/>
              <a:chExt cx="6240693" cy="1476000"/>
            </a:xfrm>
          </p:grpSpPr>
          <p:sp>
            <p:nvSpPr>
              <p:cNvPr id="33" name="Прямоугольник 32"/>
              <p:cNvSpPr/>
              <p:nvPr>
                <p:custDataLst>
                  <p:tags r:id="rId3"/>
                </p:custDataLst>
              </p:nvPr>
            </p:nvSpPr>
            <p:spPr>
              <a:xfrm>
                <a:off x="8595527" y="2961113"/>
                <a:ext cx="1628930" cy="43204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600" b="1" dirty="0">
                    <a:solidFill>
                      <a:schemeClr val="tx1"/>
                    </a:solidFill>
                  </a:rPr>
                  <a:t>МРОТ, руб.</a:t>
                </a:r>
              </a:p>
            </p:txBody>
          </p:sp>
          <p:sp>
            <p:nvSpPr>
              <p:cNvPr id="34" name="Скругленный прямоугольник 33"/>
              <p:cNvSpPr/>
              <p:nvPr>
                <p:custDataLst>
                  <p:tags r:id="rId4"/>
                </p:custDataLst>
              </p:nvPr>
            </p:nvSpPr>
            <p:spPr>
              <a:xfrm>
                <a:off x="5807967" y="2961112"/>
                <a:ext cx="6240693" cy="1476000"/>
              </a:xfrm>
              <a:prstGeom prst="roundRect">
                <a:avLst>
                  <a:gd name="adj" fmla="val 7127"/>
                </a:avLst>
              </a:prstGeom>
              <a:noFill/>
              <a:ln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aphicFrame>
            <p:nvGraphicFramePr>
              <p:cNvPr id="35" name="Диаграмма 34"/>
              <p:cNvGraphicFramePr/>
              <p:nvPr>
                <p:extLst>
                  <p:ext uri="{D42A27DB-BD31-4B8C-83A1-F6EECF244321}">
                    <p14:modId xmlns:p14="http://schemas.microsoft.com/office/powerpoint/2010/main" xmlns="" val="3396452534"/>
                  </p:ext>
                </p:extLst>
              </p:nvPr>
            </p:nvGraphicFramePr>
            <p:xfrm>
              <a:off x="6535420" y="3278878"/>
              <a:ext cx="5005064" cy="1135456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8"/>
              </a:graphicData>
            </a:graphic>
          </p:graphicFrame>
        </p:grpSp>
        <p:cxnSp>
          <p:nvCxnSpPr>
            <p:cNvPr id="32" name="Прямая соединительная линия 31"/>
            <p:cNvCxnSpPr/>
            <p:nvPr/>
          </p:nvCxnSpPr>
          <p:spPr>
            <a:xfrm rot="16200000" flipV="1">
              <a:off x="7760478" y="2030967"/>
              <a:ext cx="1067312" cy="641587"/>
            </a:xfrm>
            <a:prstGeom prst="line">
              <a:avLst/>
            </a:prstGeom>
            <a:ln w="47625" cap="rnd">
              <a:solidFill>
                <a:schemeClr val="accent6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6" name="Группа 19"/>
          <p:cNvGrpSpPr/>
          <p:nvPr/>
        </p:nvGrpSpPr>
        <p:grpSpPr>
          <a:xfrm>
            <a:off x="357167" y="8023411"/>
            <a:ext cx="5786477" cy="1501621"/>
            <a:chOff x="2800477" y="2069295"/>
            <a:chExt cx="6236017" cy="2367817"/>
          </a:xfrm>
        </p:grpSpPr>
        <p:grpSp>
          <p:nvGrpSpPr>
            <p:cNvPr id="37" name="Группа 6"/>
            <p:cNvGrpSpPr/>
            <p:nvPr/>
          </p:nvGrpSpPr>
          <p:grpSpPr>
            <a:xfrm>
              <a:off x="4355976" y="2961112"/>
              <a:ext cx="4680518" cy="1476000"/>
              <a:chOff x="5807967" y="2961112"/>
              <a:chExt cx="6240693" cy="1476000"/>
            </a:xfrm>
          </p:grpSpPr>
          <p:sp>
            <p:nvSpPr>
              <p:cNvPr id="39" name="Прямоугольник 38"/>
              <p:cNvSpPr/>
              <p:nvPr>
                <p:custDataLst>
                  <p:tags r:id="rId1"/>
                </p:custDataLst>
              </p:nvPr>
            </p:nvSpPr>
            <p:spPr>
              <a:xfrm>
                <a:off x="5910417" y="3364525"/>
                <a:ext cx="5556969" cy="73425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600" b="1" dirty="0" smtClean="0">
                    <a:solidFill>
                      <a:schemeClr val="tx1"/>
                    </a:solidFill>
                  </a:rPr>
                  <a:t>Индексация оплаты труда работников бюджетной сферы  размере 3,6%</a:t>
                </a:r>
                <a:endParaRPr lang="ru-RU" sz="16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0" name="Скругленный прямоугольник 39"/>
              <p:cNvSpPr/>
              <p:nvPr>
                <p:custDataLst>
                  <p:tags r:id="rId2"/>
                </p:custDataLst>
              </p:nvPr>
            </p:nvSpPr>
            <p:spPr>
              <a:xfrm>
                <a:off x="5807967" y="2961112"/>
                <a:ext cx="6240693" cy="1476000"/>
              </a:xfrm>
              <a:prstGeom prst="roundRect">
                <a:avLst>
                  <a:gd name="adj" fmla="val 7127"/>
                </a:avLst>
              </a:prstGeom>
              <a:noFill/>
              <a:ln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cxnSp>
          <p:nvCxnSpPr>
            <p:cNvPr id="38" name="Прямая соединительная линия 37"/>
            <p:cNvCxnSpPr/>
            <p:nvPr/>
          </p:nvCxnSpPr>
          <p:spPr>
            <a:xfrm rot="10800000">
              <a:off x="2800477" y="2069295"/>
              <a:ext cx="1506644" cy="1710626"/>
            </a:xfrm>
            <a:prstGeom prst="line">
              <a:avLst/>
            </a:prstGeom>
            <a:ln w="47625" cap="rnd">
              <a:solidFill>
                <a:schemeClr val="accent6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3" name="Прямая соединительная линия 42"/>
          <p:cNvCxnSpPr/>
          <p:nvPr/>
        </p:nvCxnSpPr>
        <p:spPr>
          <a:xfrm rot="5400000" flipH="1" flipV="1">
            <a:off x="-392933" y="6774669"/>
            <a:ext cx="2071702" cy="571504"/>
          </a:xfrm>
          <a:prstGeom prst="line">
            <a:avLst/>
          </a:prstGeom>
          <a:ln w="47625" cap="rnd">
            <a:solidFill>
              <a:schemeClr val="accent6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000"/>
                            </p:stCondLst>
                            <p:childTnLst>
                              <p:par>
                                <p:cTn id="1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1107505" y="4520952"/>
            <a:ext cx="3096345" cy="1584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24" name="Text Box 5"/>
          <p:cNvSpPr txBox="1">
            <a:spLocks noChangeArrowheads="1"/>
          </p:cNvSpPr>
          <p:nvPr/>
        </p:nvSpPr>
        <p:spPr bwMode="auto">
          <a:xfrm>
            <a:off x="5229200" y="1568624"/>
            <a:ext cx="1373196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sp>
        <p:nvSpPr>
          <p:cNvPr id="18" name="Скругленный прямоугольник 17"/>
          <p:cNvSpPr/>
          <p:nvPr>
            <p:custDataLst>
              <p:tags r:id="rId1"/>
            </p:custDataLst>
          </p:nvPr>
        </p:nvSpPr>
        <p:spPr>
          <a:xfrm>
            <a:off x="332656" y="3440832"/>
            <a:ext cx="1895163" cy="1152128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 18"/>
          <p:cNvSpPr/>
          <p:nvPr>
            <p:custDataLst>
              <p:tags r:id="rId2"/>
            </p:custDataLst>
          </p:nvPr>
        </p:nvSpPr>
        <p:spPr>
          <a:xfrm>
            <a:off x="332657" y="3575061"/>
            <a:ext cx="1895162" cy="3231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Уличное освещение</a:t>
            </a:r>
            <a:endParaRPr lang="ru-RU" sz="1500" b="1" dirty="0"/>
          </a:p>
        </p:txBody>
      </p:sp>
      <p:sp>
        <p:nvSpPr>
          <p:cNvPr id="25" name="Скругленный прямоугольник 24"/>
          <p:cNvSpPr/>
          <p:nvPr>
            <p:custDataLst>
              <p:tags r:id="rId3"/>
            </p:custDataLst>
          </p:nvPr>
        </p:nvSpPr>
        <p:spPr>
          <a:xfrm>
            <a:off x="404664" y="4016896"/>
            <a:ext cx="1683378" cy="391457"/>
          </a:xfrm>
          <a:prstGeom prst="roundRect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36,3</a:t>
            </a:r>
            <a:endParaRPr lang="ru-RU" b="1" dirty="0"/>
          </a:p>
        </p:txBody>
      </p:sp>
      <p:sp>
        <p:nvSpPr>
          <p:cNvPr id="26" name="Скругленный прямоугольник 25"/>
          <p:cNvSpPr/>
          <p:nvPr>
            <p:custDataLst>
              <p:tags r:id="rId4"/>
            </p:custDataLst>
          </p:nvPr>
        </p:nvSpPr>
        <p:spPr>
          <a:xfrm>
            <a:off x="4509120" y="3368824"/>
            <a:ext cx="2060848" cy="1276630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Прямоугольник 26"/>
          <p:cNvSpPr/>
          <p:nvPr>
            <p:custDataLst>
              <p:tags r:id="rId5"/>
            </p:custDataLst>
          </p:nvPr>
        </p:nvSpPr>
        <p:spPr>
          <a:xfrm>
            <a:off x="4509120" y="3476836"/>
            <a:ext cx="2088232" cy="78483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Содержание общественных </a:t>
            </a:r>
          </a:p>
          <a:p>
            <a:pPr lvl="0" algn="ctr">
              <a:lnSpc>
                <a:spcPts val="1800"/>
              </a:lnSpc>
            </a:pPr>
            <a:r>
              <a:rPr lang="ru-RU" sz="1500" b="1" dirty="0" smtClean="0"/>
              <a:t>территорий  города</a:t>
            </a:r>
            <a:endParaRPr lang="ru-RU" sz="1500" b="1" dirty="0"/>
          </a:p>
        </p:txBody>
      </p:sp>
      <p:sp>
        <p:nvSpPr>
          <p:cNvPr id="28" name="Скругленный прямоугольник 27"/>
          <p:cNvSpPr/>
          <p:nvPr>
            <p:custDataLst>
              <p:tags r:id="rId6"/>
            </p:custDataLst>
          </p:nvPr>
        </p:nvSpPr>
        <p:spPr>
          <a:xfrm>
            <a:off x="4667386" y="4239760"/>
            <a:ext cx="1683378" cy="257388"/>
          </a:xfrm>
          <a:prstGeom prst="roundRect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15,9</a:t>
            </a:r>
            <a:endParaRPr lang="ru-RU" b="1" dirty="0"/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260648" y="4953000"/>
            <a:ext cx="1944216" cy="1276630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Прямоугольник 29"/>
          <p:cNvSpPr/>
          <p:nvPr/>
        </p:nvSpPr>
        <p:spPr>
          <a:xfrm>
            <a:off x="260648" y="5025008"/>
            <a:ext cx="1944216" cy="78483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Содержание Нижней каскадной лестницы </a:t>
            </a:r>
            <a:endParaRPr lang="ru-RU" sz="1500" b="1" dirty="0"/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404663" y="5745088"/>
            <a:ext cx="1683378" cy="408244"/>
          </a:xfrm>
          <a:prstGeom prst="roundRect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9,2</a:t>
            </a:r>
            <a:endParaRPr lang="ru-RU" b="1" dirty="0"/>
          </a:p>
        </p:txBody>
      </p:sp>
      <p:sp>
        <p:nvSpPr>
          <p:cNvPr id="32" name="Скругленный прямоугольник 31"/>
          <p:cNvSpPr/>
          <p:nvPr/>
        </p:nvSpPr>
        <p:spPr>
          <a:xfrm>
            <a:off x="4725144" y="4880992"/>
            <a:ext cx="1800200" cy="1276630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4783246" y="5662494"/>
            <a:ext cx="1683378" cy="408244"/>
          </a:xfrm>
          <a:prstGeom prst="roundRect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4,7</a:t>
            </a:r>
            <a:endParaRPr lang="ru-RU" b="1" dirty="0"/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2420888" y="5817096"/>
            <a:ext cx="2088232" cy="1276630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Прямоугольник 34"/>
          <p:cNvSpPr/>
          <p:nvPr/>
        </p:nvSpPr>
        <p:spPr>
          <a:xfrm>
            <a:off x="2420888" y="5817096"/>
            <a:ext cx="2088232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Прочие мероприятия </a:t>
            </a:r>
          </a:p>
          <a:p>
            <a:pPr lvl="0" algn="ctr">
              <a:lnSpc>
                <a:spcPts val="1800"/>
              </a:lnSpc>
            </a:pPr>
            <a:r>
              <a:rPr lang="ru-RU" sz="1500" b="1" dirty="0" smtClean="0"/>
              <a:t>по благоустройству </a:t>
            </a:r>
          </a:p>
          <a:p>
            <a:pPr lvl="0" algn="ctr">
              <a:lnSpc>
                <a:spcPts val="1800"/>
              </a:lnSpc>
            </a:pPr>
            <a:r>
              <a:rPr lang="ru-RU" sz="1500" b="1" dirty="0" smtClean="0"/>
              <a:t>территорий</a:t>
            </a:r>
            <a:endParaRPr lang="ru-RU" sz="1500" b="1" dirty="0"/>
          </a:p>
        </p:txBody>
      </p:sp>
      <p:sp>
        <p:nvSpPr>
          <p:cNvPr id="36" name="Скругленный прямоугольник 35"/>
          <p:cNvSpPr/>
          <p:nvPr/>
        </p:nvSpPr>
        <p:spPr>
          <a:xfrm>
            <a:off x="2626861" y="6589670"/>
            <a:ext cx="1683378" cy="408244"/>
          </a:xfrm>
          <a:prstGeom prst="roundRect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1,5</a:t>
            </a:r>
            <a:endParaRPr lang="ru-RU" b="1" dirty="0"/>
          </a:p>
        </p:txBody>
      </p:sp>
      <p:grpSp>
        <p:nvGrpSpPr>
          <p:cNvPr id="37" name="Группа 8"/>
          <p:cNvGrpSpPr/>
          <p:nvPr/>
        </p:nvGrpSpPr>
        <p:grpSpPr>
          <a:xfrm>
            <a:off x="2621413" y="3414688"/>
            <a:ext cx="1599675" cy="1025447"/>
            <a:chOff x="3280593" y="1837348"/>
            <a:chExt cx="2577739" cy="1392963"/>
          </a:xfrm>
          <a:solidFill>
            <a:schemeClr val="accent5">
              <a:lumMod val="50000"/>
            </a:schemeClr>
          </a:solidFill>
        </p:grpSpPr>
        <p:sp>
          <p:nvSpPr>
            <p:cNvPr id="38" name="Скругленный прямоугольник 37"/>
            <p:cNvSpPr/>
            <p:nvPr>
              <p:custDataLst>
                <p:tags r:id="rId16"/>
              </p:custDataLst>
            </p:nvPr>
          </p:nvSpPr>
          <p:spPr>
            <a:xfrm>
              <a:off x="3280593" y="1837348"/>
              <a:ext cx="2577739" cy="1392963"/>
            </a:xfrm>
            <a:prstGeom prst="roundRect">
              <a:avLst>
                <a:gd name="adj" fmla="val 50000"/>
              </a:avLst>
            </a:prstGeom>
            <a:grpFill/>
            <a:ln w="73025">
              <a:solidFill>
                <a:srgbClr val="EEBB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9" name="Скругленный прямоугольник 38"/>
            <p:cNvSpPr/>
            <p:nvPr>
              <p:custDataLst>
                <p:tags r:id="rId17"/>
              </p:custDataLst>
            </p:nvPr>
          </p:nvSpPr>
          <p:spPr>
            <a:xfrm>
              <a:off x="3429548" y="1984698"/>
              <a:ext cx="2289676" cy="1102442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sz="2800" dirty="0" smtClean="0">
                  <a:ln>
                    <a:solidFill>
                      <a:schemeClr val="bg1"/>
                    </a:solidFill>
                  </a:ln>
                  <a:solidFill>
                    <a:schemeClr val="bg1"/>
                  </a:solidFill>
                  <a:ea typeface="Tahoma" pitchFamily="34" charset="0"/>
                  <a:cs typeface="Tahoma" pitchFamily="34" charset="0"/>
                </a:rPr>
                <a:t>249,9</a:t>
              </a:r>
              <a:endParaRPr lang="ru-RU" sz="2800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a typeface="Tahoma" pitchFamily="34" charset="0"/>
                <a:cs typeface="Tahoma" pitchFamily="34" charset="0"/>
              </a:endParaRPr>
            </a:p>
          </p:txBody>
        </p:sp>
      </p:grpSp>
      <p:cxnSp>
        <p:nvCxnSpPr>
          <p:cNvPr id="40" name="Прямая соединительная линия 39"/>
          <p:cNvCxnSpPr>
            <a:endCxn id="34" idx="0"/>
          </p:cNvCxnSpPr>
          <p:nvPr/>
        </p:nvCxnSpPr>
        <p:spPr>
          <a:xfrm>
            <a:off x="3429000" y="4520952"/>
            <a:ext cx="36004" cy="1296144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/>
          <p:cNvCxnSpPr/>
          <p:nvPr/>
        </p:nvCxnSpPr>
        <p:spPr>
          <a:xfrm flipV="1">
            <a:off x="2276872" y="3224808"/>
            <a:ext cx="360040" cy="648072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41"/>
          <p:cNvCxnSpPr/>
          <p:nvPr/>
        </p:nvCxnSpPr>
        <p:spPr>
          <a:xfrm flipV="1">
            <a:off x="2204864" y="4232920"/>
            <a:ext cx="504056" cy="720080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/>
          <p:cNvCxnSpPr>
            <a:endCxn id="26" idx="1"/>
          </p:cNvCxnSpPr>
          <p:nvPr/>
        </p:nvCxnSpPr>
        <p:spPr>
          <a:xfrm>
            <a:off x="4077072" y="3296816"/>
            <a:ext cx="432048" cy="710323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/>
          <p:cNvCxnSpPr/>
          <p:nvPr/>
        </p:nvCxnSpPr>
        <p:spPr>
          <a:xfrm flipH="1" flipV="1">
            <a:off x="4149080" y="4304928"/>
            <a:ext cx="504056" cy="792088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5" name="Picture 23" descr="http://www.saratovmer.ru/files/data/images/NEWS/2018/3147746dd9635b3444e7565294fd95c6.jpg"/>
          <p:cNvPicPr>
            <a:picLocks noChangeAspect="1" noChangeArrowheads="1"/>
          </p:cNvPicPr>
          <p:nvPr/>
        </p:nvPicPr>
        <p:blipFill>
          <a:blip r:embed="rId1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rgbClr val="83AEE1">
                <a:tint val="45000"/>
                <a:satMod val="400000"/>
              </a:srgbClr>
            </a:duotone>
          </a:blip>
          <a:srcRect/>
          <a:stretch>
            <a:fillRect/>
          </a:stretch>
        </p:blipFill>
        <p:spPr bwMode="auto">
          <a:xfrm>
            <a:off x="0" y="8481392"/>
            <a:ext cx="6858000" cy="1700808"/>
          </a:xfrm>
          <a:prstGeom prst="rect">
            <a:avLst/>
          </a:prstGeom>
          <a:noFill/>
        </p:spPr>
      </p:pic>
      <p:sp>
        <p:nvSpPr>
          <p:cNvPr id="46" name="Скругленный прямоугольник 45"/>
          <p:cNvSpPr/>
          <p:nvPr>
            <p:custDataLst>
              <p:tags r:id="rId7"/>
            </p:custDataLst>
          </p:nvPr>
        </p:nvSpPr>
        <p:spPr>
          <a:xfrm>
            <a:off x="2348880" y="2144689"/>
            <a:ext cx="2039179" cy="1060606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Скругленный прямоугольник 46"/>
          <p:cNvSpPr/>
          <p:nvPr>
            <p:custDataLst>
              <p:tags r:id="rId8"/>
            </p:custDataLst>
          </p:nvPr>
        </p:nvSpPr>
        <p:spPr>
          <a:xfrm>
            <a:off x="332656" y="7185248"/>
            <a:ext cx="2327211" cy="1276630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" name="Скругленный прямоугольник 47"/>
          <p:cNvSpPr/>
          <p:nvPr>
            <p:custDataLst>
              <p:tags r:id="rId9"/>
            </p:custDataLst>
          </p:nvPr>
        </p:nvSpPr>
        <p:spPr>
          <a:xfrm>
            <a:off x="4293096" y="7185248"/>
            <a:ext cx="2160240" cy="1276630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" name="Скругленный прямоугольник 48"/>
          <p:cNvSpPr/>
          <p:nvPr>
            <p:custDataLst>
              <p:tags r:id="rId10"/>
            </p:custDataLst>
          </p:nvPr>
        </p:nvSpPr>
        <p:spPr>
          <a:xfrm>
            <a:off x="2564904" y="2720753"/>
            <a:ext cx="1683378" cy="408244"/>
          </a:xfrm>
          <a:prstGeom prst="roundRect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46,1</a:t>
            </a:r>
            <a:endParaRPr lang="ru-RU" b="1" dirty="0"/>
          </a:p>
        </p:txBody>
      </p:sp>
      <p:sp>
        <p:nvSpPr>
          <p:cNvPr id="50" name="Скругленный прямоугольник 49"/>
          <p:cNvSpPr/>
          <p:nvPr>
            <p:custDataLst>
              <p:tags r:id="rId11"/>
            </p:custDataLst>
          </p:nvPr>
        </p:nvSpPr>
        <p:spPr>
          <a:xfrm>
            <a:off x="908720" y="7977336"/>
            <a:ext cx="1683378" cy="408244"/>
          </a:xfrm>
          <a:prstGeom prst="roundRect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127,9</a:t>
            </a:r>
            <a:endParaRPr lang="ru-RU" b="1" dirty="0"/>
          </a:p>
        </p:txBody>
      </p:sp>
      <p:sp>
        <p:nvSpPr>
          <p:cNvPr id="51" name="Скругленный прямоугольник 50"/>
          <p:cNvSpPr/>
          <p:nvPr>
            <p:custDataLst>
              <p:tags r:id="rId12"/>
            </p:custDataLst>
          </p:nvPr>
        </p:nvSpPr>
        <p:spPr>
          <a:xfrm>
            <a:off x="4365104" y="7977336"/>
            <a:ext cx="1683378" cy="408244"/>
          </a:xfrm>
          <a:prstGeom prst="roundRect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8,3</a:t>
            </a:r>
            <a:endParaRPr lang="ru-RU" b="1" dirty="0"/>
          </a:p>
        </p:txBody>
      </p:sp>
      <p:sp>
        <p:nvSpPr>
          <p:cNvPr id="52" name="Прямоугольник 51"/>
          <p:cNvSpPr/>
          <p:nvPr>
            <p:custDataLst>
              <p:tags r:id="rId13"/>
            </p:custDataLst>
          </p:nvPr>
        </p:nvSpPr>
        <p:spPr>
          <a:xfrm>
            <a:off x="2204864" y="2144688"/>
            <a:ext cx="2304256" cy="5539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Развитие курортной инфраструктуры</a:t>
            </a:r>
            <a:endParaRPr lang="ru-RU" sz="1500" b="1" dirty="0"/>
          </a:p>
        </p:txBody>
      </p:sp>
      <p:sp>
        <p:nvSpPr>
          <p:cNvPr id="53" name="Прямоугольник 52"/>
          <p:cNvSpPr/>
          <p:nvPr>
            <p:custDataLst>
              <p:tags r:id="rId14"/>
            </p:custDataLst>
          </p:nvPr>
        </p:nvSpPr>
        <p:spPr>
          <a:xfrm>
            <a:off x="260648" y="7329264"/>
            <a:ext cx="2448272" cy="5539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Благоустройство «Аллеи любви» ( 2очередь)</a:t>
            </a:r>
            <a:endParaRPr lang="ru-RU" sz="1500" b="1" dirty="0"/>
          </a:p>
        </p:txBody>
      </p:sp>
      <p:sp>
        <p:nvSpPr>
          <p:cNvPr id="54" name="Прямоугольник 53"/>
          <p:cNvSpPr/>
          <p:nvPr>
            <p:custDataLst>
              <p:tags r:id="rId15"/>
            </p:custDataLst>
          </p:nvPr>
        </p:nvSpPr>
        <p:spPr>
          <a:xfrm>
            <a:off x="4293096" y="7329264"/>
            <a:ext cx="2160240" cy="5539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Содержание и озеленение города</a:t>
            </a:r>
            <a:endParaRPr lang="ru-RU" sz="1500" b="1" dirty="0"/>
          </a:p>
        </p:txBody>
      </p:sp>
      <p:cxnSp>
        <p:nvCxnSpPr>
          <p:cNvPr id="55" name="Прямая соединительная линия 54"/>
          <p:cNvCxnSpPr/>
          <p:nvPr/>
        </p:nvCxnSpPr>
        <p:spPr>
          <a:xfrm flipV="1">
            <a:off x="1988840" y="4376936"/>
            <a:ext cx="864096" cy="2736304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Прямая соединительная линия 55"/>
          <p:cNvCxnSpPr/>
          <p:nvPr/>
        </p:nvCxnSpPr>
        <p:spPr>
          <a:xfrm flipH="1" flipV="1">
            <a:off x="4005064" y="4376936"/>
            <a:ext cx="1008112" cy="2736304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Прямоугольник 56"/>
          <p:cNvSpPr/>
          <p:nvPr/>
        </p:nvSpPr>
        <p:spPr>
          <a:xfrm>
            <a:off x="4841776" y="4953000"/>
            <a:ext cx="2016224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Ручная уборка города</a:t>
            </a:r>
            <a:endParaRPr lang="ru-RU" sz="1500" b="1" dirty="0"/>
          </a:p>
        </p:txBody>
      </p:sp>
      <p:sp>
        <p:nvSpPr>
          <p:cNvPr id="58" name="Прямоугольник 57"/>
          <p:cNvSpPr/>
          <p:nvPr/>
        </p:nvSpPr>
        <p:spPr>
          <a:xfrm>
            <a:off x="692696" y="344488"/>
            <a:ext cx="568863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defRPr/>
            </a:pPr>
            <a:r>
              <a:rPr lang="ru-RU" altLang="ru-RU" b="1" dirty="0" smtClean="0">
                <a:cs typeface="Times New Roman" pitchFamily="18" charset="0"/>
              </a:rPr>
              <a:t>Благоустройство</a:t>
            </a:r>
          </a:p>
          <a:p>
            <a:pPr algn="ctr">
              <a:lnSpc>
                <a:spcPct val="80000"/>
              </a:lnSpc>
              <a:defRPr/>
            </a:pPr>
            <a:r>
              <a:rPr lang="ru-RU" altLang="ru-RU" b="1" dirty="0" smtClean="0">
                <a:cs typeface="Times New Roman" pitchFamily="18" charset="0"/>
              </a:rPr>
              <a:t>города-курорта Железноводска </a:t>
            </a:r>
          </a:p>
          <a:p>
            <a:pPr algn="ctr">
              <a:lnSpc>
                <a:spcPct val="80000"/>
              </a:lnSpc>
              <a:defRPr/>
            </a:pPr>
            <a:r>
              <a:rPr lang="ru-RU" altLang="ru-RU" b="1" dirty="0" smtClean="0">
                <a:cs typeface="Times New Roman" pitchFamily="18" charset="0"/>
              </a:rPr>
              <a:t>на 2022 год</a:t>
            </a:r>
            <a:endParaRPr lang="ru-RU" altLang="ru-RU" b="1" dirty="0"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908720" y="1712640"/>
            <a:ext cx="2670126" cy="1271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548680" y="272480"/>
            <a:ext cx="5929354" cy="899054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ct val="80000"/>
              </a:lnSpc>
              <a:defRPr/>
            </a:pPr>
            <a:r>
              <a:rPr lang="ru-RU" alt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еспечение жильем молодых семей города-курорта Железноводска</a:t>
            </a: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4" name="Text Box 5"/>
          <p:cNvSpPr txBox="1">
            <a:spLocks noChangeArrowheads="1"/>
          </p:cNvSpPr>
          <p:nvPr/>
        </p:nvSpPr>
        <p:spPr bwMode="auto">
          <a:xfrm>
            <a:off x="5157192" y="1280592"/>
            <a:ext cx="1373196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sp>
        <p:nvSpPr>
          <p:cNvPr id="58" name="Скругленный прямоугольник 57"/>
          <p:cNvSpPr/>
          <p:nvPr>
            <p:custDataLst>
              <p:tags r:id="rId1"/>
            </p:custDataLst>
          </p:nvPr>
        </p:nvSpPr>
        <p:spPr>
          <a:xfrm>
            <a:off x="620688" y="4808984"/>
            <a:ext cx="1440160" cy="417313"/>
          </a:xfrm>
          <a:prstGeom prst="roundRect">
            <a:avLst>
              <a:gd name="adj" fmla="val 50000"/>
            </a:avLst>
          </a:prstGeom>
          <a:solidFill>
            <a:schemeClr val="bg1">
              <a:lumMod val="65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2020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год</a:t>
            </a:r>
          </a:p>
        </p:txBody>
      </p:sp>
      <p:sp>
        <p:nvSpPr>
          <p:cNvPr id="59" name="Скругленный прямоугольник 58"/>
          <p:cNvSpPr/>
          <p:nvPr>
            <p:custDataLst>
              <p:tags r:id="rId2"/>
            </p:custDataLst>
          </p:nvPr>
        </p:nvSpPr>
        <p:spPr>
          <a:xfrm>
            <a:off x="548680" y="5385048"/>
            <a:ext cx="1584176" cy="648072"/>
          </a:xfrm>
          <a:prstGeom prst="roundRect">
            <a:avLst>
              <a:gd name="adj" fmla="val 50000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Tahoma" pitchFamily="34" charset="0"/>
                <a:cs typeface="Tahoma" pitchFamily="34" charset="0"/>
              </a:rPr>
              <a:t>28 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Tahoma" pitchFamily="34" charset="0"/>
                <a:cs typeface="Tahoma" pitchFamily="34" charset="0"/>
              </a:rPr>
              <a:t>семей</a:t>
            </a:r>
            <a:endParaRPr lang="ru-RU" sz="1600" b="1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61" name="Прямая соединительная линия 60"/>
          <p:cNvCxnSpPr>
            <a:endCxn id="62" idx="0"/>
          </p:cNvCxnSpPr>
          <p:nvPr>
            <p:custDataLst>
              <p:tags r:id="rId3"/>
            </p:custDataLst>
          </p:nvPr>
        </p:nvCxnSpPr>
        <p:spPr>
          <a:xfrm>
            <a:off x="1340768" y="5961112"/>
            <a:ext cx="36004" cy="288032"/>
          </a:xfrm>
          <a:prstGeom prst="line">
            <a:avLst/>
          </a:prstGeom>
          <a:ln w="57150" cap="rnd">
            <a:solidFill>
              <a:schemeClr val="bg1">
                <a:lumMod val="50000"/>
                <a:alpha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Скругленный прямоугольник 61"/>
          <p:cNvSpPr/>
          <p:nvPr>
            <p:custDataLst>
              <p:tags r:id="rId4"/>
            </p:custDataLst>
          </p:nvPr>
        </p:nvSpPr>
        <p:spPr>
          <a:xfrm>
            <a:off x="620688" y="6249144"/>
            <a:ext cx="1512168" cy="648072"/>
          </a:xfrm>
          <a:prstGeom prst="roundRect">
            <a:avLst>
              <a:gd name="adj" fmla="val 50000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Tahoma" pitchFamily="34" charset="0"/>
                <a:cs typeface="Tahoma" pitchFamily="34" charset="0"/>
              </a:rPr>
              <a:t>25,8</a:t>
            </a:r>
          </a:p>
        </p:txBody>
      </p:sp>
      <p:sp>
        <p:nvSpPr>
          <p:cNvPr id="63" name="Скругленный прямоугольник 62"/>
          <p:cNvSpPr/>
          <p:nvPr>
            <p:custDataLst>
              <p:tags r:id="rId5"/>
            </p:custDataLst>
          </p:nvPr>
        </p:nvSpPr>
        <p:spPr>
          <a:xfrm>
            <a:off x="476672" y="7545288"/>
            <a:ext cx="961184" cy="360040"/>
          </a:xfrm>
          <a:prstGeom prst="roundRect">
            <a:avLst>
              <a:gd name="adj" fmla="val 50000"/>
            </a:avLst>
          </a:prstGeom>
          <a:solidFill>
            <a:srgbClr val="FFFF9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28800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2,0</a:t>
            </a: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64" name="Скругленный прямоугольник 63"/>
          <p:cNvSpPr/>
          <p:nvPr>
            <p:custDataLst>
              <p:tags r:id="rId6"/>
            </p:custDataLst>
          </p:nvPr>
        </p:nvSpPr>
        <p:spPr>
          <a:xfrm>
            <a:off x="1412776" y="7545288"/>
            <a:ext cx="1008111" cy="360040"/>
          </a:xfrm>
          <a:prstGeom prst="roundRect">
            <a:avLst>
              <a:gd name="adj" fmla="val 50000"/>
            </a:avLst>
          </a:prstGeom>
          <a:solidFill>
            <a:srgbClr val="92D0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28800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Tahoma" pitchFamily="34" charset="0"/>
                <a:cs typeface="Tahoma" pitchFamily="34" charset="0"/>
              </a:rPr>
              <a:t>23,8</a:t>
            </a: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65" name="Скругленный прямоугольник 64"/>
          <p:cNvSpPr/>
          <p:nvPr>
            <p:custDataLst>
              <p:tags r:id="rId7"/>
            </p:custDataLst>
          </p:nvPr>
        </p:nvSpPr>
        <p:spPr>
          <a:xfrm>
            <a:off x="4797152" y="2144688"/>
            <a:ext cx="1440160" cy="417313"/>
          </a:xfrm>
          <a:prstGeom prst="roundRect">
            <a:avLst>
              <a:gd name="adj" fmla="val 50000"/>
            </a:avLst>
          </a:prstGeom>
          <a:solidFill>
            <a:schemeClr val="bg1">
              <a:lumMod val="65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2022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год</a:t>
            </a:r>
          </a:p>
        </p:txBody>
      </p:sp>
      <p:sp>
        <p:nvSpPr>
          <p:cNvPr id="66" name="Скругленный прямоугольник 65"/>
          <p:cNvSpPr/>
          <p:nvPr>
            <p:custDataLst>
              <p:tags r:id="rId8"/>
            </p:custDataLst>
          </p:nvPr>
        </p:nvSpPr>
        <p:spPr>
          <a:xfrm>
            <a:off x="4653136" y="2648744"/>
            <a:ext cx="1800200" cy="576064"/>
          </a:xfrm>
          <a:prstGeom prst="roundRect">
            <a:avLst>
              <a:gd name="adj" fmla="val 50000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Tahoma" pitchFamily="34" charset="0"/>
                <a:cs typeface="Tahoma" pitchFamily="34" charset="0"/>
              </a:rPr>
              <a:t>60 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Tahoma" pitchFamily="34" charset="0"/>
                <a:cs typeface="Tahoma" pitchFamily="34" charset="0"/>
              </a:rPr>
              <a:t>многодетных</a:t>
            </a:r>
          </a:p>
          <a:p>
            <a:pPr algn="ctr"/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Tahoma" pitchFamily="34" charset="0"/>
                <a:cs typeface="Tahoma" pitchFamily="34" charset="0"/>
              </a:rPr>
              <a:t> 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Tahoma" pitchFamily="34" charset="0"/>
                <a:cs typeface="Tahoma" pitchFamily="34" charset="0"/>
              </a:rPr>
              <a:t>семей</a:t>
            </a:r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67" name="Прямая соединительная линия 66"/>
          <p:cNvCxnSpPr>
            <a:stCxn id="66" idx="2"/>
            <a:endCxn id="78" idx="0"/>
          </p:cNvCxnSpPr>
          <p:nvPr>
            <p:custDataLst>
              <p:tags r:id="rId9"/>
            </p:custDataLst>
          </p:nvPr>
        </p:nvCxnSpPr>
        <p:spPr>
          <a:xfrm>
            <a:off x="5553236" y="3224808"/>
            <a:ext cx="0" cy="216024"/>
          </a:xfrm>
          <a:prstGeom prst="line">
            <a:avLst/>
          </a:prstGeom>
          <a:ln w="57150" cap="rnd">
            <a:solidFill>
              <a:schemeClr val="bg1">
                <a:lumMod val="50000"/>
                <a:alpha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8" name="Picture 4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3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52736" y="1424608"/>
            <a:ext cx="1664507" cy="1656184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2" name="Группа 46"/>
          <p:cNvGrpSpPr/>
          <p:nvPr>
            <p:custDataLst>
              <p:tags r:id="rId11"/>
            </p:custDataLst>
          </p:nvPr>
        </p:nvGrpSpPr>
        <p:grpSpPr>
          <a:xfrm>
            <a:off x="1772816" y="8697416"/>
            <a:ext cx="2386176" cy="467436"/>
            <a:chOff x="537999" y="5954425"/>
            <a:chExt cx="2386176" cy="467436"/>
          </a:xfrm>
        </p:grpSpPr>
        <p:sp>
          <p:nvSpPr>
            <p:cNvPr id="73" name="Овал 72"/>
            <p:cNvSpPr/>
            <p:nvPr>
              <p:custDataLst>
                <p:tags r:id="rId31"/>
              </p:custDataLst>
            </p:nvPr>
          </p:nvSpPr>
          <p:spPr>
            <a:xfrm>
              <a:off x="537999" y="5989814"/>
              <a:ext cx="320425" cy="32128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74" name="TextBox 73"/>
            <p:cNvSpPr txBox="1"/>
            <p:nvPr>
              <p:custDataLst>
                <p:tags r:id="rId32"/>
              </p:custDataLst>
            </p:nvPr>
          </p:nvSpPr>
          <p:spPr>
            <a:xfrm>
              <a:off x="875118" y="5954425"/>
              <a:ext cx="2049057" cy="46743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1400"/>
                </a:lnSpc>
                <a:defRPr/>
              </a:pPr>
              <a:r>
                <a:rPr lang="ru-RU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собственные </a:t>
              </a:r>
            </a:p>
            <a:p>
              <a:pPr>
                <a:lnSpc>
                  <a:spcPts val="1400"/>
                </a:lnSpc>
                <a:defRPr/>
              </a:pPr>
              <a:r>
                <a:rPr lang="ru-RU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расходы</a:t>
              </a:r>
              <a:endParaRPr lang="ru-RU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75" name="Группа 52"/>
          <p:cNvGrpSpPr/>
          <p:nvPr>
            <p:custDataLst>
              <p:tags r:id="rId12"/>
            </p:custDataLst>
          </p:nvPr>
        </p:nvGrpSpPr>
        <p:grpSpPr>
          <a:xfrm>
            <a:off x="4005064" y="7905328"/>
            <a:ext cx="2376264" cy="467436"/>
            <a:chOff x="537999" y="5954425"/>
            <a:chExt cx="2016225" cy="467436"/>
          </a:xfrm>
        </p:grpSpPr>
        <p:sp>
          <p:nvSpPr>
            <p:cNvPr id="76" name="Овал 75"/>
            <p:cNvSpPr/>
            <p:nvPr>
              <p:custDataLst>
                <p:tags r:id="rId29"/>
              </p:custDataLst>
            </p:nvPr>
          </p:nvSpPr>
          <p:spPr>
            <a:xfrm>
              <a:off x="537999" y="5989814"/>
              <a:ext cx="320425" cy="321284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77" name="TextBox 76"/>
            <p:cNvSpPr txBox="1"/>
            <p:nvPr>
              <p:custDataLst>
                <p:tags r:id="rId30"/>
              </p:custDataLst>
            </p:nvPr>
          </p:nvSpPr>
          <p:spPr>
            <a:xfrm>
              <a:off x="898040" y="5954425"/>
              <a:ext cx="1656184" cy="46743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1400"/>
                </a:lnSpc>
                <a:defRPr/>
              </a:pPr>
              <a:r>
                <a:rPr lang="ru-RU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краевой </a:t>
              </a:r>
            </a:p>
            <a:p>
              <a:pPr>
                <a:lnSpc>
                  <a:spcPts val="1400"/>
                </a:lnSpc>
                <a:defRPr/>
              </a:pPr>
              <a:r>
                <a:rPr lang="ru-RU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бюджет</a:t>
              </a:r>
              <a:endParaRPr lang="ru-RU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78" name="Скругленный прямоугольник 77"/>
          <p:cNvSpPr/>
          <p:nvPr>
            <p:custDataLst>
              <p:tags r:id="rId13"/>
            </p:custDataLst>
          </p:nvPr>
        </p:nvSpPr>
        <p:spPr>
          <a:xfrm>
            <a:off x="4797152" y="3440832"/>
            <a:ext cx="1512168" cy="648072"/>
          </a:xfrm>
          <a:prstGeom prst="roundRect">
            <a:avLst>
              <a:gd name="adj" fmla="val 50000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Tahoma" pitchFamily="34" charset="0"/>
                <a:cs typeface="Tahoma" pitchFamily="34" charset="0"/>
              </a:rPr>
              <a:t>47,3</a:t>
            </a:r>
          </a:p>
        </p:txBody>
      </p:sp>
      <p:sp>
        <p:nvSpPr>
          <p:cNvPr id="79" name="Скругленный прямоугольник 78"/>
          <p:cNvSpPr/>
          <p:nvPr>
            <p:custDataLst>
              <p:tags r:id="rId14"/>
            </p:custDataLst>
          </p:nvPr>
        </p:nvSpPr>
        <p:spPr>
          <a:xfrm>
            <a:off x="4581128" y="4592960"/>
            <a:ext cx="954938" cy="360040"/>
          </a:xfrm>
          <a:prstGeom prst="roundRect">
            <a:avLst>
              <a:gd name="adj" fmla="val 50000"/>
            </a:avLst>
          </a:prstGeom>
          <a:solidFill>
            <a:srgbClr val="FFFF9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28800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Tahoma" pitchFamily="34" charset="0"/>
                <a:cs typeface="Tahoma" pitchFamily="34" charset="0"/>
              </a:rPr>
              <a:t> 2,4</a:t>
            </a: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80" name="Скругленный прямоугольник 79"/>
          <p:cNvSpPr/>
          <p:nvPr>
            <p:custDataLst>
              <p:tags r:id="rId15"/>
            </p:custDataLst>
          </p:nvPr>
        </p:nvSpPr>
        <p:spPr>
          <a:xfrm>
            <a:off x="5517232" y="4592960"/>
            <a:ext cx="1008112" cy="360040"/>
          </a:xfrm>
          <a:prstGeom prst="roundRect">
            <a:avLst>
              <a:gd name="adj" fmla="val 50000"/>
            </a:avLst>
          </a:prstGeom>
          <a:solidFill>
            <a:srgbClr val="92D0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28800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Tahoma" pitchFamily="34" charset="0"/>
                <a:cs typeface="Tahoma" pitchFamily="34" charset="0"/>
              </a:rPr>
              <a:t> 44,9</a:t>
            </a: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83" name="Скругленный прямоугольник 82"/>
          <p:cNvSpPr/>
          <p:nvPr>
            <p:custDataLst>
              <p:tags r:id="rId16"/>
            </p:custDataLst>
          </p:nvPr>
        </p:nvSpPr>
        <p:spPr>
          <a:xfrm>
            <a:off x="2708920" y="3584848"/>
            <a:ext cx="1440160" cy="417313"/>
          </a:xfrm>
          <a:prstGeom prst="roundRect">
            <a:avLst>
              <a:gd name="adj" fmla="val 50000"/>
            </a:avLst>
          </a:prstGeom>
          <a:solidFill>
            <a:schemeClr val="bg1">
              <a:lumMod val="65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2021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год</a:t>
            </a:r>
          </a:p>
        </p:txBody>
      </p:sp>
      <p:sp>
        <p:nvSpPr>
          <p:cNvPr id="84" name="Скругленный прямоугольник 83"/>
          <p:cNvSpPr/>
          <p:nvPr>
            <p:custDataLst>
              <p:tags r:id="rId17"/>
            </p:custDataLst>
          </p:nvPr>
        </p:nvSpPr>
        <p:spPr>
          <a:xfrm>
            <a:off x="2420888" y="4088904"/>
            <a:ext cx="1944216" cy="648072"/>
          </a:xfrm>
          <a:prstGeom prst="roundRect">
            <a:avLst>
              <a:gd name="adj" fmla="val 50000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Tahoma" pitchFamily="34" charset="0"/>
                <a:cs typeface="Tahoma" pitchFamily="34" charset="0"/>
              </a:rPr>
              <a:t>4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Tahoma" pitchFamily="34" charset="0"/>
                <a:cs typeface="Tahoma" pitchFamily="34" charset="0"/>
              </a:rPr>
              <a:t> многодетные</a:t>
            </a:r>
          </a:p>
          <a:p>
            <a:pPr algn="ctr"/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Tahoma" pitchFamily="34" charset="0"/>
                <a:cs typeface="Tahoma" pitchFamily="34" charset="0"/>
              </a:rPr>
              <a:t> семьи</a:t>
            </a:r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85" name="Прямая соединительная линия 84"/>
          <p:cNvCxnSpPr/>
          <p:nvPr>
            <p:custDataLst>
              <p:tags r:id="rId18"/>
            </p:custDataLst>
          </p:nvPr>
        </p:nvCxnSpPr>
        <p:spPr>
          <a:xfrm>
            <a:off x="3506138" y="4728430"/>
            <a:ext cx="0" cy="152562"/>
          </a:xfrm>
          <a:prstGeom prst="line">
            <a:avLst/>
          </a:prstGeom>
          <a:ln w="57150" cap="rnd">
            <a:solidFill>
              <a:schemeClr val="bg1">
                <a:lumMod val="50000"/>
                <a:alpha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Скругленный прямоугольник 85"/>
          <p:cNvSpPr/>
          <p:nvPr>
            <p:custDataLst>
              <p:tags r:id="rId19"/>
            </p:custDataLst>
          </p:nvPr>
        </p:nvSpPr>
        <p:spPr>
          <a:xfrm>
            <a:off x="2648882" y="4946985"/>
            <a:ext cx="1512168" cy="648072"/>
          </a:xfrm>
          <a:prstGeom prst="roundRect">
            <a:avLst>
              <a:gd name="adj" fmla="val 50000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Tahoma" pitchFamily="34" charset="0"/>
                <a:cs typeface="Tahoma" pitchFamily="34" charset="0"/>
              </a:rPr>
              <a:t>4,7</a:t>
            </a:r>
          </a:p>
        </p:txBody>
      </p:sp>
      <p:sp>
        <p:nvSpPr>
          <p:cNvPr id="87" name="Скругленный прямоугольник 86"/>
          <p:cNvSpPr/>
          <p:nvPr>
            <p:custDataLst>
              <p:tags r:id="rId20"/>
            </p:custDataLst>
          </p:nvPr>
        </p:nvSpPr>
        <p:spPr>
          <a:xfrm>
            <a:off x="2348880" y="6177137"/>
            <a:ext cx="1071570" cy="360040"/>
          </a:xfrm>
          <a:prstGeom prst="roundRect">
            <a:avLst>
              <a:gd name="adj" fmla="val 50000"/>
            </a:avLst>
          </a:prstGeom>
          <a:solidFill>
            <a:srgbClr val="FFFF9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28800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Tahoma" pitchFamily="34" charset="0"/>
                <a:cs typeface="Tahoma" pitchFamily="34" charset="0"/>
              </a:rPr>
              <a:t> 0,5</a:t>
            </a: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88" name="Скругленный прямоугольник 87"/>
          <p:cNvSpPr/>
          <p:nvPr>
            <p:custDataLst>
              <p:tags r:id="rId21"/>
            </p:custDataLst>
          </p:nvPr>
        </p:nvSpPr>
        <p:spPr>
          <a:xfrm>
            <a:off x="3429000" y="6177137"/>
            <a:ext cx="1071570" cy="360040"/>
          </a:xfrm>
          <a:prstGeom prst="roundRect">
            <a:avLst>
              <a:gd name="adj" fmla="val 50000"/>
            </a:avLst>
          </a:prstGeom>
          <a:solidFill>
            <a:srgbClr val="92D0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28800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Tahoma" pitchFamily="34" charset="0"/>
                <a:cs typeface="Tahoma" pitchFamily="34" charset="0"/>
              </a:rPr>
              <a:t>4,2</a:t>
            </a: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41" name="Прямая соединительная линия 40"/>
          <p:cNvCxnSpPr>
            <a:endCxn id="79" idx="0"/>
          </p:cNvCxnSpPr>
          <p:nvPr>
            <p:custDataLst>
              <p:tags r:id="rId22"/>
            </p:custDataLst>
          </p:nvPr>
        </p:nvCxnSpPr>
        <p:spPr>
          <a:xfrm flipH="1">
            <a:off x="5058597" y="4160912"/>
            <a:ext cx="134600" cy="432048"/>
          </a:xfrm>
          <a:prstGeom prst="line">
            <a:avLst/>
          </a:prstGeom>
          <a:ln w="57150" cap="rnd">
            <a:solidFill>
              <a:schemeClr val="bg1">
                <a:lumMod val="50000"/>
                <a:alpha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41"/>
          <p:cNvCxnSpPr>
            <a:endCxn id="80" idx="0"/>
          </p:cNvCxnSpPr>
          <p:nvPr>
            <p:custDataLst>
              <p:tags r:id="rId23"/>
            </p:custDataLst>
          </p:nvPr>
        </p:nvCxnSpPr>
        <p:spPr>
          <a:xfrm>
            <a:off x="5841268" y="4160912"/>
            <a:ext cx="180020" cy="432048"/>
          </a:xfrm>
          <a:prstGeom prst="line">
            <a:avLst/>
          </a:prstGeom>
          <a:ln w="57150" cap="rnd">
            <a:solidFill>
              <a:schemeClr val="bg1">
                <a:lumMod val="50000"/>
                <a:alpha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Прямая соединительная линия 48"/>
          <p:cNvCxnSpPr/>
          <p:nvPr>
            <p:custDataLst>
              <p:tags r:id="rId24"/>
            </p:custDataLst>
          </p:nvPr>
        </p:nvCxnSpPr>
        <p:spPr>
          <a:xfrm flipH="1">
            <a:off x="2924944" y="5673080"/>
            <a:ext cx="98595" cy="432048"/>
          </a:xfrm>
          <a:prstGeom prst="line">
            <a:avLst/>
          </a:prstGeom>
          <a:ln w="57150" cap="rnd">
            <a:solidFill>
              <a:schemeClr val="bg1">
                <a:lumMod val="50000"/>
                <a:alpha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единительная линия 49"/>
          <p:cNvCxnSpPr/>
          <p:nvPr>
            <p:custDataLst>
              <p:tags r:id="rId25"/>
            </p:custDataLst>
          </p:nvPr>
        </p:nvCxnSpPr>
        <p:spPr>
          <a:xfrm flipH="1">
            <a:off x="980728" y="6969224"/>
            <a:ext cx="98596" cy="576064"/>
          </a:xfrm>
          <a:prstGeom prst="line">
            <a:avLst/>
          </a:prstGeom>
          <a:ln w="57150" cap="rnd">
            <a:solidFill>
              <a:schemeClr val="bg1">
                <a:lumMod val="50000"/>
                <a:alpha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единительная линия 50"/>
          <p:cNvCxnSpPr/>
          <p:nvPr>
            <p:custDataLst>
              <p:tags r:id="rId26"/>
            </p:custDataLst>
          </p:nvPr>
        </p:nvCxnSpPr>
        <p:spPr>
          <a:xfrm>
            <a:off x="3789040" y="5601072"/>
            <a:ext cx="180020" cy="576064"/>
          </a:xfrm>
          <a:prstGeom prst="line">
            <a:avLst/>
          </a:prstGeom>
          <a:ln w="57150" cap="rnd">
            <a:solidFill>
              <a:schemeClr val="bg1">
                <a:lumMod val="50000"/>
                <a:alpha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единительная линия 51"/>
          <p:cNvCxnSpPr>
            <a:endCxn id="64" idx="0"/>
          </p:cNvCxnSpPr>
          <p:nvPr>
            <p:custDataLst>
              <p:tags r:id="rId27"/>
            </p:custDataLst>
          </p:nvPr>
        </p:nvCxnSpPr>
        <p:spPr>
          <a:xfrm>
            <a:off x="1772816" y="6969224"/>
            <a:ext cx="144016" cy="576064"/>
          </a:xfrm>
          <a:prstGeom prst="line">
            <a:avLst/>
          </a:prstGeom>
          <a:ln w="57150" cap="rnd">
            <a:solidFill>
              <a:schemeClr val="bg1">
                <a:lumMod val="50000"/>
                <a:alpha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Прямая соединительная линия 53"/>
          <p:cNvCxnSpPr>
            <a:stCxn id="58" idx="2"/>
            <a:endCxn id="59" idx="0"/>
          </p:cNvCxnSpPr>
          <p:nvPr>
            <p:custDataLst>
              <p:tags r:id="rId28"/>
            </p:custDataLst>
          </p:nvPr>
        </p:nvCxnSpPr>
        <p:spPr>
          <a:xfrm>
            <a:off x="1340768" y="5226297"/>
            <a:ext cx="0" cy="158751"/>
          </a:xfrm>
          <a:prstGeom prst="line">
            <a:avLst/>
          </a:prstGeom>
          <a:ln w="57150" cap="rnd">
            <a:solidFill>
              <a:schemeClr val="bg1">
                <a:lumMod val="50000"/>
                <a:alpha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юджетные инвестиции </a:t>
            </a:r>
          </a:p>
          <a:p>
            <a:pPr algn="ctr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 2022-2024 годах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21" name="Группа 11"/>
          <p:cNvGrpSpPr/>
          <p:nvPr/>
        </p:nvGrpSpPr>
        <p:grpSpPr>
          <a:xfrm>
            <a:off x="4293096" y="4376936"/>
            <a:ext cx="2232248" cy="1584181"/>
            <a:chOff x="6749673" y="5742968"/>
            <a:chExt cx="2232248" cy="652152"/>
          </a:xfrm>
        </p:grpSpPr>
        <p:sp>
          <p:nvSpPr>
            <p:cNvPr id="22" name="AutoShape 32"/>
            <p:cNvSpPr>
              <a:spLocks noChangeArrowheads="1"/>
            </p:cNvSpPr>
            <p:nvPr/>
          </p:nvSpPr>
          <p:spPr bwMode="auto">
            <a:xfrm>
              <a:off x="6749673" y="5742968"/>
              <a:ext cx="2232248" cy="326053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lIns="108000" tIns="72000" bIns="72000" anchor="ctr"/>
            <a:lstStyle/>
            <a:p>
              <a:pPr algn="ctr">
                <a:lnSpc>
                  <a:spcPts val="1400"/>
                </a:lnSpc>
              </a:pPr>
              <a:r>
                <a:rPr lang="ru-RU" sz="1600" b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Прочие объекты</a:t>
              </a:r>
            </a:p>
          </p:txBody>
        </p:sp>
        <p:sp>
          <p:nvSpPr>
            <p:cNvPr id="23" name="Скругленный прямоугольник 22"/>
            <p:cNvSpPr/>
            <p:nvPr/>
          </p:nvSpPr>
          <p:spPr>
            <a:xfrm>
              <a:off x="7495017" y="6101403"/>
              <a:ext cx="756000" cy="293717"/>
            </a:xfrm>
            <a:prstGeom prst="roundRect">
              <a:avLst/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1,6</a:t>
              </a:r>
              <a:endParaRPr lang="ru-RU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</p:grpSp>
      <p:grpSp>
        <p:nvGrpSpPr>
          <p:cNvPr id="25" name="Группа 3"/>
          <p:cNvGrpSpPr/>
          <p:nvPr/>
        </p:nvGrpSpPr>
        <p:grpSpPr>
          <a:xfrm>
            <a:off x="476672" y="4376936"/>
            <a:ext cx="2160240" cy="1605431"/>
            <a:chOff x="6749680" y="1793534"/>
            <a:chExt cx="2250000" cy="727191"/>
          </a:xfrm>
        </p:grpSpPr>
        <p:sp>
          <p:nvSpPr>
            <p:cNvPr id="26" name="AutoShape 32"/>
            <p:cNvSpPr>
              <a:spLocks noChangeArrowheads="1"/>
            </p:cNvSpPr>
            <p:nvPr/>
          </p:nvSpPr>
          <p:spPr bwMode="auto">
            <a:xfrm>
              <a:off x="6749680" y="1793534"/>
              <a:ext cx="2250000" cy="355696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lIns="108000" tIns="72000" bIns="72000" anchor="ctr"/>
            <a:lstStyle/>
            <a:p>
              <a:pPr algn="ctr">
                <a:lnSpc>
                  <a:spcPts val="1400"/>
                </a:lnSpc>
              </a:pPr>
              <a:endParaRPr lang="ru-RU" sz="1600" b="1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27" name="Скругленный прямоугольник 26"/>
            <p:cNvSpPr/>
            <p:nvPr/>
          </p:nvSpPr>
          <p:spPr>
            <a:xfrm>
              <a:off x="7458051" y="2197365"/>
              <a:ext cx="756000" cy="323360"/>
            </a:xfrm>
            <a:prstGeom prst="roundRect">
              <a:avLst/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666,3</a:t>
              </a:r>
              <a:endParaRPr lang="ru-RU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</p:grpSp>
      <p:sp>
        <p:nvSpPr>
          <p:cNvPr id="28" name="Скругленный прямоугольник 27"/>
          <p:cNvSpPr/>
          <p:nvPr/>
        </p:nvSpPr>
        <p:spPr>
          <a:xfrm>
            <a:off x="2636912" y="2864768"/>
            <a:ext cx="1505024" cy="755984"/>
          </a:xfrm>
          <a:prstGeom prst="roundRect">
            <a:avLst/>
          </a:prstGeom>
          <a:solidFill>
            <a:schemeClr val="accent6">
              <a:lumMod val="40000"/>
              <a:lumOff val="60000"/>
              <a:alpha val="97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2600" b="1" dirty="0" smtClean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667,9</a:t>
            </a:r>
            <a:endParaRPr lang="ru-RU" sz="2600" b="1" dirty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404664" y="4376936"/>
            <a:ext cx="2232248" cy="755984"/>
          </a:xfrm>
          <a:prstGeom prst="roundRect">
            <a:avLst/>
          </a:prstGeom>
          <a:solidFill>
            <a:schemeClr val="accent6">
              <a:lumMod val="40000"/>
              <a:lumOff val="60000"/>
              <a:alpha val="97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2400" dirty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ru-RU" sz="1600" b="1" dirty="0" smtClean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Образование  2023-2024  годы</a:t>
            </a:r>
            <a:endParaRPr lang="ru-RU" sz="1600" b="1" dirty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4293096" y="4376942"/>
            <a:ext cx="2232248" cy="792088"/>
          </a:xfrm>
          <a:prstGeom prst="roundRect">
            <a:avLst/>
          </a:prstGeom>
          <a:solidFill>
            <a:schemeClr val="accent6">
              <a:lumMod val="40000"/>
              <a:lumOff val="60000"/>
              <a:alpha val="97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2400" dirty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ru-RU" sz="1600" b="1" dirty="0" smtClean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Прочие объекты 2022 год</a:t>
            </a:r>
            <a:endParaRPr lang="ru-RU" sz="1600" b="1" dirty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31" name="Text Box 5"/>
          <p:cNvSpPr txBox="1">
            <a:spLocks noChangeArrowheads="1"/>
          </p:cNvSpPr>
          <p:nvPr/>
        </p:nvSpPr>
        <p:spPr bwMode="auto">
          <a:xfrm>
            <a:off x="5229200" y="2216696"/>
            <a:ext cx="1223797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4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pic>
        <p:nvPicPr>
          <p:cNvPr id="32" name="Picture 2" descr="http://www.planetakartinok.ru/_ph/121/2/795574096.gif"/>
          <p:cNvPicPr>
            <a:picLocks noChangeAspect="1" noChangeArrowheads="1" noCrop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6650" y="6767084"/>
            <a:ext cx="3138036" cy="29246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4" name="Picture 9" descr="https://otvet.imgsmail.ru/download/u_89091af776a2af79086fe592fa56cf31_800.gif"/>
          <p:cNvPicPr>
            <a:picLocks noChangeAspect="1" noChangeArrowheads="1" noCrop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786189" y="6423310"/>
            <a:ext cx="2450291" cy="2244466"/>
          </a:xfrm>
          <a:prstGeom prst="rect">
            <a:avLst/>
          </a:prstGeom>
          <a:noFill/>
        </p:spPr>
      </p:pic>
      <p:cxnSp>
        <p:nvCxnSpPr>
          <p:cNvPr id="17" name="Прямая соединительная линия 16"/>
          <p:cNvCxnSpPr/>
          <p:nvPr>
            <p:custDataLst>
              <p:tags r:id="rId1"/>
            </p:custDataLst>
          </p:nvPr>
        </p:nvCxnSpPr>
        <p:spPr>
          <a:xfrm flipH="1">
            <a:off x="2420888" y="3656856"/>
            <a:ext cx="530644" cy="720080"/>
          </a:xfrm>
          <a:prstGeom prst="line">
            <a:avLst/>
          </a:prstGeom>
          <a:ln w="57150" cap="rnd">
            <a:solidFill>
              <a:schemeClr val="bg1">
                <a:lumMod val="50000"/>
                <a:alpha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>
            <p:custDataLst>
              <p:tags r:id="rId2"/>
            </p:custDataLst>
          </p:nvPr>
        </p:nvCxnSpPr>
        <p:spPr>
          <a:xfrm>
            <a:off x="3861048" y="3656856"/>
            <a:ext cx="648072" cy="720080"/>
          </a:xfrm>
          <a:prstGeom prst="line">
            <a:avLst/>
          </a:prstGeom>
          <a:ln w="57150" cap="rnd">
            <a:solidFill>
              <a:schemeClr val="bg1">
                <a:lumMod val="50000"/>
                <a:alpha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3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5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29" grpId="0" animBg="1"/>
      <p:bldP spid="30" grpId="0" animBg="1"/>
    </p:bld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ъем дорожного фонда города-курорта Железноводска  на 202 год и плановый период 2022 и 20</a:t>
            </a:r>
            <a:r>
              <a:rPr lang="en-US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 годов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36" name="Picture 2" descr="http://www.zabedu.ru/files/org/1285/59d4cfb732509.gif"/>
          <p:cNvPicPr>
            <a:picLocks noChangeAspect="1" noChangeArrowheads="1" noCrop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7833320"/>
            <a:ext cx="6858000" cy="1712640"/>
          </a:xfrm>
          <a:prstGeom prst="rect">
            <a:avLst/>
          </a:prstGeom>
          <a:noFill/>
        </p:spPr>
      </p:pic>
      <p:sp>
        <p:nvSpPr>
          <p:cNvPr id="37" name="Text Box 5"/>
          <p:cNvSpPr txBox="1">
            <a:spLocks noChangeArrowheads="1"/>
          </p:cNvSpPr>
          <p:nvPr/>
        </p:nvSpPr>
        <p:spPr bwMode="auto">
          <a:xfrm>
            <a:off x="5157192" y="2288704"/>
            <a:ext cx="1373196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graphicFrame>
        <p:nvGraphicFramePr>
          <p:cNvPr id="6" name="Диаграмма 5"/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xmlns="" val="3017909176"/>
              </p:ext>
            </p:extLst>
          </p:nvPr>
        </p:nvGraphicFramePr>
        <p:xfrm>
          <a:off x="0" y="2288704"/>
          <a:ext cx="6669360" cy="50405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6" grpId="0">
        <p:bldAsOne/>
      </p:bldGraphic>
    </p:bld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620688" y="200472"/>
            <a:ext cx="5929354" cy="135260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спользование дорожного фонда города-курорта Железноводска  на 2022 год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7" name="Text Box 5"/>
          <p:cNvSpPr txBox="1">
            <a:spLocks noChangeArrowheads="1"/>
          </p:cNvSpPr>
          <p:nvPr/>
        </p:nvSpPr>
        <p:spPr bwMode="auto">
          <a:xfrm>
            <a:off x="5373216" y="2144688"/>
            <a:ext cx="1223797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4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cxnSp>
        <p:nvCxnSpPr>
          <p:cNvPr id="45" name="Прямая соединительная линия 44"/>
          <p:cNvCxnSpPr/>
          <p:nvPr/>
        </p:nvCxnSpPr>
        <p:spPr>
          <a:xfrm flipH="1">
            <a:off x="4293096" y="5169026"/>
            <a:ext cx="936106" cy="2952326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единительная линия 45"/>
          <p:cNvCxnSpPr/>
          <p:nvPr/>
        </p:nvCxnSpPr>
        <p:spPr>
          <a:xfrm flipH="1">
            <a:off x="1988841" y="5169024"/>
            <a:ext cx="1296143" cy="1440160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Скругленный прямоугольник 46"/>
          <p:cNvSpPr/>
          <p:nvPr>
            <p:custDataLst>
              <p:tags r:id="rId1"/>
            </p:custDataLst>
          </p:nvPr>
        </p:nvSpPr>
        <p:spPr>
          <a:xfrm>
            <a:off x="235249" y="4323044"/>
            <a:ext cx="2131735" cy="1240706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" name="Прямоугольник 47"/>
          <p:cNvSpPr/>
          <p:nvPr>
            <p:custDataLst>
              <p:tags r:id="rId2"/>
            </p:custDataLst>
          </p:nvPr>
        </p:nvSpPr>
        <p:spPr>
          <a:xfrm>
            <a:off x="286049" y="4406335"/>
            <a:ext cx="2016224" cy="5539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400" b="1" dirty="0" smtClean="0"/>
              <a:t>за счет средств краевого бюджета</a:t>
            </a:r>
            <a:endParaRPr lang="ru-RU" sz="1400" b="1" dirty="0"/>
          </a:p>
        </p:txBody>
      </p:sp>
      <p:sp>
        <p:nvSpPr>
          <p:cNvPr id="49" name="Скругленный прямоугольник 48"/>
          <p:cNvSpPr/>
          <p:nvPr>
            <p:custDataLst>
              <p:tags r:id="rId3"/>
            </p:custDataLst>
          </p:nvPr>
        </p:nvSpPr>
        <p:spPr>
          <a:xfrm>
            <a:off x="404664" y="5097016"/>
            <a:ext cx="1790911" cy="336942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0,0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50" name="Скругленный прямоугольник 49"/>
          <p:cNvSpPr/>
          <p:nvPr>
            <p:custDataLst>
              <p:tags r:id="rId4"/>
            </p:custDataLst>
          </p:nvPr>
        </p:nvSpPr>
        <p:spPr>
          <a:xfrm>
            <a:off x="2929531" y="3958292"/>
            <a:ext cx="2857520" cy="1095978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" name="Прямоугольник 50"/>
          <p:cNvSpPr/>
          <p:nvPr>
            <p:custDataLst>
              <p:tags r:id="rId5"/>
            </p:custDataLst>
          </p:nvPr>
        </p:nvSpPr>
        <p:spPr>
          <a:xfrm>
            <a:off x="2924944" y="3930707"/>
            <a:ext cx="2880320" cy="5539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lnSpc>
                <a:spcPts val="1800"/>
              </a:lnSpc>
            </a:pPr>
            <a:r>
              <a:rPr lang="ru-RU" sz="1400" b="1" dirty="0" smtClean="0"/>
              <a:t>за счет средств  бюджета </a:t>
            </a:r>
          </a:p>
          <a:p>
            <a:pPr algn="ctr">
              <a:lnSpc>
                <a:spcPts val="1800"/>
              </a:lnSpc>
            </a:pPr>
            <a:r>
              <a:rPr lang="ru-RU" sz="1400" b="1" dirty="0" smtClean="0"/>
              <a:t>города</a:t>
            </a:r>
            <a:endParaRPr lang="ru-RU" sz="1400" b="1" dirty="0"/>
          </a:p>
        </p:txBody>
      </p:sp>
      <p:sp>
        <p:nvSpPr>
          <p:cNvPr id="52" name="Скругленный прямоугольник 51"/>
          <p:cNvSpPr/>
          <p:nvPr>
            <p:custDataLst>
              <p:tags r:id="rId6"/>
            </p:custDataLst>
          </p:nvPr>
        </p:nvSpPr>
        <p:spPr>
          <a:xfrm>
            <a:off x="3501008" y="4592960"/>
            <a:ext cx="1683378" cy="331264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20,4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53" name="Скругленный прямоугольник 52"/>
          <p:cNvSpPr/>
          <p:nvPr/>
        </p:nvSpPr>
        <p:spPr>
          <a:xfrm>
            <a:off x="260648" y="6537177"/>
            <a:ext cx="1899592" cy="1008112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Прямоугольник 53"/>
          <p:cNvSpPr/>
          <p:nvPr/>
        </p:nvSpPr>
        <p:spPr>
          <a:xfrm>
            <a:off x="305276" y="6537176"/>
            <a:ext cx="194421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400" b="1" dirty="0" smtClean="0"/>
              <a:t>механизированная </a:t>
            </a:r>
          </a:p>
          <a:p>
            <a:pPr lvl="0" algn="ctr">
              <a:lnSpc>
                <a:spcPts val="1800"/>
              </a:lnSpc>
            </a:pPr>
            <a:r>
              <a:rPr lang="ru-RU" sz="1400" b="1" dirty="0" smtClean="0"/>
              <a:t>и ручная уборка</a:t>
            </a:r>
            <a:endParaRPr lang="ru-RU" sz="1400" b="1" dirty="0"/>
          </a:p>
        </p:txBody>
      </p:sp>
      <p:sp>
        <p:nvSpPr>
          <p:cNvPr id="55" name="Скругленный прямоугольник 54"/>
          <p:cNvSpPr/>
          <p:nvPr/>
        </p:nvSpPr>
        <p:spPr>
          <a:xfrm>
            <a:off x="342652" y="7163945"/>
            <a:ext cx="1683378" cy="288032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10,0</a:t>
            </a:r>
            <a:endParaRPr lang="ru-RU" b="1" dirty="0">
              <a:solidFill>
                <a:schemeClr val="tx1"/>
              </a:solidFill>
            </a:endParaRPr>
          </a:p>
        </p:txBody>
      </p:sp>
      <p:grpSp>
        <p:nvGrpSpPr>
          <p:cNvPr id="56" name="Группа 8"/>
          <p:cNvGrpSpPr/>
          <p:nvPr/>
        </p:nvGrpSpPr>
        <p:grpSpPr>
          <a:xfrm>
            <a:off x="3417913" y="2852027"/>
            <a:ext cx="1897635" cy="648072"/>
            <a:chOff x="3280593" y="1837348"/>
            <a:chExt cx="2577739" cy="1392963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7" name="Скругленный прямоугольник 56"/>
            <p:cNvSpPr/>
            <p:nvPr>
              <p:custDataLst>
                <p:tags r:id="rId16"/>
              </p:custDataLst>
            </p:nvPr>
          </p:nvSpPr>
          <p:spPr>
            <a:xfrm>
              <a:off x="3280593" y="1837348"/>
              <a:ext cx="2577739" cy="1392963"/>
            </a:xfrm>
            <a:prstGeom prst="roundRect">
              <a:avLst>
                <a:gd name="adj" fmla="val 50000"/>
              </a:avLst>
            </a:prstGeom>
            <a:grpFill/>
            <a:ln w="73025">
              <a:solidFill>
                <a:srgbClr val="EEBB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8" name="Скругленный прямоугольник 57"/>
            <p:cNvSpPr/>
            <p:nvPr>
              <p:custDataLst>
                <p:tags r:id="rId17"/>
              </p:custDataLst>
            </p:nvPr>
          </p:nvSpPr>
          <p:spPr>
            <a:xfrm>
              <a:off x="3429548" y="1984698"/>
              <a:ext cx="2289676" cy="1102442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sz="2800" b="1" dirty="0" smtClean="0">
                  <a:solidFill>
                    <a:schemeClr val="tx1"/>
                  </a:solidFill>
                </a:rPr>
                <a:t>20,4</a:t>
              </a:r>
              <a:endParaRPr lang="ru-RU" sz="2800" b="1" dirty="0">
                <a:solidFill>
                  <a:schemeClr val="tx1"/>
                </a:solidFill>
              </a:endParaRPr>
            </a:p>
          </p:txBody>
        </p:sp>
      </p:grpSp>
      <p:cxnSp>
        <p:nvCxnSpPr>
          <p:cNvPr id="59" name="Прямая соединительная линия 58"/>
          <p:cNvCxnSpPr/>
          <p:nvPr/>
        </p:nvCxnSpPr>
        <p:spPr>
          <a:xfrm flipV="1">
            <a:off x="2204864" y="3230158"/>
            <a:ext cx="1102741" cy="1002762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Прямая соединительная линия 60"/>
          <p:cNvCxnSpPr/>
          <p:nvPr/>
        </p:nvCxnSpPr>
        <p:spPr>
          <a:xfrm>
            <a:off x="4421750" y="3656775"/>
            <a:ext cx="0" cy="288032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Скругленный прямоугольник 61"/>
          <p:cNvSpPr/>
          <p:nvPr>
            <p:custDataLst>
              <p:tags r:id="rId7"/>
            </p:custDataLst>
          </p:nvPr>
        </p:nvSpPr>
        <p:spPr>
          <a:xfrm>
            <a:off x="2276872" y="8121352"/>
            <a:ext cx="2039179" cy="1008112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3" name="Скругленный прямоугольник 62"/>
          <p:cNvSpPr/>
          <p:nvPr>
            <p:custDataLst>
              <p:tags r:id="rId8"/>
            </p:custDataLst>
          </p:nvPr>
        </p:nvSpPr>
        <p:spPr>
          <a:xfrm>
            <a:off x="2433056" y="8786490"/>
            <a:ext cx="1683378" cy="277402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2,0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64" name="Прямоугольник 63"/>
          <p:cNvSpPr/>
          <p:nvPr>
            <p:custDataLst>
              <p:tags r:id="rId9"/>
            </p:custDataLst>
          </p:nvPr>
        </p:nvSpPr>
        <p:spPr>
          <a:xfrm>
            <a:off x="2204864" y="8049344"/>
            <a:ext cx="2066002" cy="78483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lnSpc>
                <a:spcPts val="1800"/>
              </a:lnSpc>
            </a:pPr>
            <a:r>
              <a:rPr lang="ru-RU" sz="1400" b="1" dirty="0" smtClean="0"/>
              <a:t>содержание светофоров и дорожных знаков</a:t>
            </a:r>
            <a:endParaRPr lang="ru-RU" sz="1400" b="1" dirty="0"/>
          </a:p>
        </p:txBody>
      </p:sp>
      <p:sp>
        <p:nvSpPr>
          <p:cNvPr id="65" name="Скругленный прямоугольник 64"/>
          <p:cNvSpPr/>
          <p:nvPr>
            <p:custDataLst>
              <p:tags r:id="rId10"/>
            </p:custDataLst>
          </p:nvPr>
        </p:nvSpPr>
        <p:spPr>
          <a:xfrm>
            <a:off x="2346202" y="6561701"/>
            <a:ext cx="2020177" cy="983587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6" name="Прямоугольник 65"/>
          <p:cNvSpPr/>
          <p:nvPr>
            <p:custDataLst>
              <p:tags r:id="rId11"/>
            </p:custDataLst>
          </p:nvPr>
        </p:nvSpPr>
        <p:spPr>
          <a:xfrm>
            <a:off x="2420888" y="6465168"/>
            <a:ext cx="1910993" cy="78483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lnSpc>
                <a:spcPts val="1800"/>
              </a:lnSpc>
            </a:pPr>
            <a:r>
              <a:rPr lang="ru-RU" sz="1400" b="1" dirty="0" smtClean="0"/>
              <a:t>дорожная разметка</a:t>
            </a:r>
          </a:p>
          <a:p>
            <a:pPr algn="ctr">
              <a:lnSpc>
                <a:spcPts val="1800"/>
              </a:lnSpc>
            </a:pPr>
            <a:r>
              <a:rPr lang="ru-RU" sz="1400" b="1" dirty="0" smtClean="0"/>
              <a:t> с применением термопластика</a:t>
            </a:r>
            <a:endParaRPr lang="ru-RU" sz="1400" b="1" dirty="0"/>
          </a:p>
        </p:txBody>
      </p:sp>
      <p:sp>
        <p:nvSpPr>
          <p:cNvPr id="67" name="Скругленный прямоугольник 66"/>
          <p:cNvSpPr/>
          <p:nvPr>
            <p:custDataLst>
              <p:tags r:id="rId12"/>
            </p:custDataLst>
          </p:nvPr>
        </p:nvSpPr>
        <p:spPr>
          <a:xfrm>
            <a:off x="2492896" y="7185248"/>
            <a:ext cx="1728192" cy="288032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3,4</a:t>
            </a:r>
            <a:endParaRPr lang="ru-RU" b="1" dirty="0">
              <a:solidFill>
                <a:schemeClr val="tx1"/>
              </a:solidFill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 flipH="1">
            <a:off x="3284984" y="5194425"/>
            <a:ext cx="369755" cy="1414759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Скругленный прямоугольник 68"/>
          <p:cNvSpPr/>
          <p:nvPr>
            <p:custDataLst>
              <p:tags r:id="rId13"/>
            </p:custDataLst>
          </p:nvPr>
        </p:nvSpPr>
        <p:spPr>
          <a:xfrm>
            <a:off x="4653136" y="8121352"/>
            <a:ext cx="2003683" cy="1008112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0" name="Прямоугольник 69"/>
          <p:cNvSpPr/>
          <p:nvPr>
            <p:custDataLst>
              <p:tags r:id="rId14"/>
            </p:custDataLst>
          </p:nvPr>
        </p:nvSpPr>
        <p:spPr>
          <a:xfrm>
            <a:off x="4653136" y="8188199"/>
            <a:ext cx="1944216" cy="5539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400" b="1" dirty="0" smtClean="0"/>
              <a:t>текущий ремонт </a:t>
            </a:r>
          </a:p>
          <a:p>
            <a:pPr lvl="0" algn="ctr">
              <a:lnSpc>
                <a:spcPts val="1800"/>
              </a:lnSpc>
            </a:pPr>
            <a:r>
              <a:rPr lang="ru-RU" sz="1400" b="1" dirty="0" smtClean="0"/>
              <a:t>дорог</a:t>
            </a:r>
            <a:endParaRPr lang="ru-RU" sz="1400" b="1" dirty="0"/>
          </a:p>
        </p:txBody>
      </p:sp>
      <p:sp>
        <p:nvSpPr>
          <p:cNvPr id="71" name="Скругленный прямоугольник 70"/>
          <p:cNvSpPr/>
          <p:nvPr>
            <p:custDataLst>
              <p:tags r:id="rId15"/>
            </p:custDataLst>
          </p:nvPr>
        </p:nvSpPr>
        <p:spPr>
          <a:xfrm>
            <a:off x="4797152" y="8769424"/>
            <a:ext cx="1728192" cy="288032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5,0</a:t>
            </a:r>
            <a:endParaRPr lang="ru-RU" b="1" dirty="0">
              <a:solidFill>
                <a:schemeClr val="tx1"/>
              </a:solidFill>
            </a:endParaRPr>
          </a:p>
        </p:txBody>
      </p:sp>
      <p:cxnSp>
        <p:nvCxnSpPr>
          <p:cNvPr id="72" name="Прямая соединительная линия 71"/>
          <p:cNvCxnSpPr/>
          <p:nvPr/>
        </p:nvCxnSpPr>
        <p:spPr>
          <a:xfrm flipH="1">
            <a:off x="5301208" y="5169024"/>
            <a:ext cx="288032" cy="2952328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бюджета города Железноводска на 2022 год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6" name="Диаграмма 45"/>
          <p:cNvGraphicFramePr/>
          <p:nvPr/>
        </p:nvGraphicFramePr>
        <p:xfrm>
          <a:off x="1071546" y="1523976"/>
          <a:ext cx="5072098" cy="68580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500042" y="309530"/>
            <a:ext cx="5786478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бюджета города-курорта Железноводска в разрезе муниципальных программ и </a:t>
            </a:r>
            <a:r>
              <a:rPr lang="ru-RU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епрограммных</a:t>
            </a: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направлений деятельности на 2022 год и плановый период 2023 и 2024 годов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0" name="Text Box 3"/>
          <p:cNvSpPr txBox="1">
            <a:spLocks noChangeArrowheads="1"/>
          </p:cNvSpPr>
          <p:nvPr/>
        </p:nvSpPr>
        <p:spPr bwMode="auto">
          <a:xfrm>
            <a:off x="5072074" y="2095480"/>
            <a:ext cx="1243013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/>
              <a:t>млн.рублей</a:t>
            </a:r>
          </a:p>
        </p:txBody>
      </p:sp>
      <p:sp>
        <p:nvSpPr>
          <p:cNvPr id="41" name="Text Box 4"/>
          <p:cNvSpPr txBox="1">
            <a:spLocks noChangeArrowheads="1"/>
          </p:cNvSpPr>
          <p:nvPr/>
        </p:nvSpPr>
        <p:spPr bwMode="auto">
          <a:xfrm>
            <a:off x="1192217" y="2295519"/>
            <a:ext cx="857927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800" b="1" dirty="0" smtClean="0">
                <a:latin typeface="Arial" pitchFamily="34" charset="0"/>
              </a:rPr>
              <a:t>2022 </a:t>
            </a:r>
            <a:r>
              <a:rPr lang="ru-RU" sz="1800" b="1" dirty="0">
                <a:latin typeface="Arial" pitchFamily="34" charset="0"/>
              </a:rPr>
              <a:t>г</a:t>
            </a:r>
          </a:p>
        </p:txBody>
      </p:sp>
      <p:sp>
        <p:nvSpPr>
          <p:cNvPr id="42" name="Text Box 5"/>
          <p:cNvSpPr txBox="1">
            <a:spLocks noChangeArrowheads="1"/>
          </p:cNvSpPr>
          <p:nvPr/>
        </p:nvSpPr>
        <p:spPr bwMode="auto">
          <a:xfrm>
            <a:off x="3143248" y="2381232"/>
            <a:ext cx="857927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800" b="1" dirty="0" smtClean="0">
                <a:latin typeface="Arial" pitchFamily="34" charset="0"/>
              </a:rPr>
              <a:t>2023 </a:t>
            </a:r>
            <a:r>
              <a:rPr lang="ru-RU" sz="1800" b="1" dirty="0">
                <a:latin typeface="Arial" pitchFamily="34" charset="0"/>
              </a:rPr>
              <a:t>г</a:t>
            </a:r>
          </a:p>
        </p:txBody>
      </p:sp>
      <p:sp>
        <p:nvSpPr>
          <p:cNvPr id="43" name="Text Box 6"/>
          <p:cNvSpPr txBox="1">
            <a:spLocks noChangeArrowheads="1"/>
          </p:cNvSpPr>
          <p:nvPr/>
        </p:nvSpPr>
        <p:spPr bwMode="auto">
          <a:xfrm>
            <a:off x="5143512" y="2381232"/>
            <a:ext cx="857927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800" b="1" dirty="0" smtClean="0">
                <a:latin typeface="Arial" pitchFamily="34" charset="0"/>
              </a:rPr>
              <a:t>2024 </a:t>
            </a:r>
            <a:r>
              <a:rPr lang="ru-RU" sz="1800" b="1" dirty="0">
                <a:latin typeface="Arial" pitchFamily="34" charset="0"/>
              </a:rPr>
              <a:t>г</a:t>
            </a:r>
          </a:p>
        </p:txBody>
      </p:sp>
      <p:sp>
        <p:nvSpPr>
          <p:cNvPr id="44" name="AutoShape 7"/>
          <p:cNvSpPr>
            <a:spLocks noChangeArrowheads="1"/>
          </p:cNvSpPr>
          <p:nvPr/>
        </p:nvSpPr>
        <p:spPr bwMode="auto">
          <a:xfrm>
            <a:off x="785794" y="2952736"/>
            <a:ext cx="1511300" cy="2017711"/>
          </a:xfrm>
          <a:prstGeom prst="cube">
            <a:avLst>
              <a:gd name="adj" fmla="val 25000"/>
            </a:avLst>
          </a:prstGeom>
          <a:solidFill>
            <a:schemeClr val="accent4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r>
              <a:rPr lang="ru-RU" b="1" dirty="0" smtClean="0">
                <a:latin typeface="Arial" pitchFamily="34" charset="0"/>
              </a:rPr>
              <a:t>1 858,0</a:t>
            </a:r>
            <a:endParaRPr lang="ru-RU" b="1" dirty="0">
              <a:latin typeface="Arial" pitchFamily="34" charset="0"/>
            </a:endParaRPr>
          </a:p>
        </p:txBody>
      </p:sp>
      <p:sp>
        <p:nvSpPr>
          <p:cNvPr id="45" name="AutoShape 8"/>
          <p:cNvSpPr>
            <a:spLocks noChangeArrowheads="1"/>
          </p:cNvSpPr>
          <p:nvPr/>
        </p:nvSpPr>
        <p:spPr bwMode="auto">
          <a:xfrm>
            <a:off x="2928934" y="2738422"/>
            <a:ext cx="1439862" cy="2143140"/>
          </a:xfrm>
          <a:prstGeom prst="cube">
            <a:avLst>
              <a:gd name="adj" fmla="val 25000"/>
            </a:avLst>
          </a:prstGeom>
          <a:solidFill>
            <a:schemeClr val="accent4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r>
              <a:rPr lang="ru-RU" b="1" dirty="0" smtClean="0">
                <a:latin typeface="Arial" pitchFamily="34" charset="0"/>
              </a:rPr>
              <a:t>1 970,1</a:t>
            </a:r>
            <a:endParaRPr lang="ru-RU" b="1" dirty="0">
              <a:latin typeface="Arial" pitchFamily="34" charset="0"/>
            </a:endParaRPr>
          </a:p>
          <a:p>
            <a:pPr algn="ctr" eaLnBrk="1" hangingPunct="1"/>
            <a:endParaRPr lang="ru-RU" b="1" dirty="0">
              <a:latin typeface="Arial" pitchFamily="34" charset="0"/>
            </a:endParaRPr>
          </a:p>
        </p:txBody>
      </p:sp>
      <p:sp>
        <p:nvSpPr>
          <p:cNvPr id="47" name="AutoShape 9"/>
          <p:cNvSpPr>
            <a:spLocks noChangeArrowheads="1"/>
          </p:cNvSpPr>
          <p:nvPr/>
        </p:nvSpPr>
        <p:spPr bwMode="auto">
          <a:xfrm>
            <a:off x="5143512" y="3024174"/>
            <a:ext cx="1439862" cy="1792294"/>
          </a:xfrm>
          <a:prstGeom prst="cube">
            <a:avLst>
              <a:gd name="adj" fmla="val 25000"/>
            </a:avLst>
          </a:prstGeom>
          <a:solidFill>
            <a:schemeClr val="accent4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r>
              <a:rPr lang="ru-RU" b="1" dirty="0" smtClean="0">
                <a:latin typeface="Arial" pitchFamily="34" charset="0"/>
              </a:rPr>
              <a:t>1 788,0</a:t>
            </a:r>
            <a:endParaRPr lang="ru-RU" b="1" dirty="0">
              <a:latin typeface="Arial" pitchFamily="34" charset="0"/>
            </a:endParaRPr>
          </a:p>
        </p:txBody>
      </p:sp>
      <p:sp>
        <p:nvSpPr>
          <p:cNvPr id="48" name="AutoShape 10"/>
          <p:cNvSpPr>
            <a:spLocks noChangeArrowheads="1"/>
          </p:cNvSpPr>
          <p:nvPr/>
        </p:nvSpPr>
        <p:spPr bwMode="auto">
          <a:xfrm>
            <a:off x="714357" y="5167314"/>
            <a:ext cx="1285884" cy="714380"/>
          </a:xfrm>
          <a:prstGeom prst="cube">
            <a:avLst>
              <a:gd name="adj" fmla="val 25000"/>
            </a:avLst>
          </a:prstGeom>
          <a:solidFill>
            <a:srgbClr val="FFC000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r>
              <a:rPr lang="ru-RU" b="1" dirty="0" smtClean="0">
                <a:latin typeface="Arial" pitchFamily="34" charset="0"/>
              </a:rPr>
              <a:t>98,9</a:t>
            </a:r>
            <a:endParaRPr lang="ru-RU" b="1" dirty="0">
              <a:latin typeface="Arial" pitchFamily="34" charset="0"/>
            </a:endParaRPr>
          </a:p>
        </p:txBody>
      </p:sp>
      <p:sp>
        <p:nvSpPr>
          <p:cNvPr id="49" name="AutoShape 11"/>
          <p:cNvSpPr>
            <a:spLocks noChangeArrowheads="1"/>
          </p:cNvSpPr>
          <p:nvPr/>
        </p:nvSpPr>
        <p:spPr bwMode="auto">
          <a:xfrm>
            <a:off x="3000372" y="5167314"/>
            <a:ext cx="1214446" cy="714380"/>
          </a:xfrm>
          <a:prstGeom prst="cube">
            <a:avLst>
              <a:gd name="adj" fmla="val 25000"/>
            </a:avLst>
          </a:prstGeom>
          <a:solidFill>
            <a:srgbClr val="FFC000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r>
              <a:rPr lang="ru-RU" b="1" dirty="0" smtClean="0">
                <a:latin typeface="Arial" pitchFamily="34" charset="0"/>
              </a:rPr>
              <a:t>85,4</a:t>
            </a:r>
            <a:endParaRPr lang="ru-RU" b="1" dirty="0">
              <a:latin typeface="Arial" pitchFamily="34" charset="0"/>
            </a:endParaRPr>
          </a:p>
        </p:txBody>
      </p:sp>
      <p:sp>
        <p:nvSpPr>
          <p:cNvPr id="50" name="AutoShape 12"/>
          <p:cNvSpPr>
            <a:spLocks noChangeArrowheads="1"/>
          </p:cNvSpPr>
          <p:nvPr/>
        </p:nvSpPr>
        <p:spPr bwMode="auto">
          <a:xfrm>
            <a:off x="5286388" y="5167314"/>
            <a:ext cx="1143008" cy="647700"/>
          </a:xfrm>
          <a:prstGeom prst="cube">
            <a:avLst>
              <a:gd name="adj" fmla="val 25000"/>
            </a:avLst>
          </a:prstGeom>
          <a:solidFill>
            <a:srgbClr val="FFC000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r>
              <a:rPr lang="ru-RU" b="1" dirty="0" smtClean="0">
                <a:latin typeface="Arial" pitchFamily="34" charset="0"/>
              </a:rPr>
              <a:t>83,3</a:t>
            </a:r>
            <a:endParaRPr lang="ru-RU" b="1" dirty="0">
              <a:latin typeface="Arial" pitchFamily="34" charset="0"/>
            </a:endParaRPr>
          </a:p>
        </p:txBody>
      </p:sp>
      <p:sp>
        <p:nvSpPr>
          <p:cNvPr id="51" name="AutoShape 15"/>
          <p:cNvSpPr>
            <a:spLocks/>
          </p:cNvSpPr>
          <p:nvPr/>
        </p:nvSpPr>
        <p:spPr bwMode="auto">
          <a:xfrm>
            <a:off x="542930" y="2728906"/>
            <a:ext cx="71437" cy="2305050"/>
          </a:xfrm>
          <a:prstGeom prst="leftBrace">
            <a:avLst>
              <a:gd name="adj1" fmla="val 268891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52" name="Text Box 16"/>
          <p:cNvSpPr txBox="1">
            <a:spLocks noChangeArrowheads="1"/>
          </p:cNvSpPr>
          <p:nvPr/>
        </p:nvSpPr>
        <p:spPr bwMode="auto">
          <a:xfrm>
            <a:off x="69155" y="3524239"/>
            <a:ext cx="430887" cy="71438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 wrap="square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94,9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53" name="Text Box 17"/>
          <p:cNvSpPr txBox="1">
            <a:spLocks noChangeArrowheads="1"/>
          </p:cNvSpPr>
          <p:nvPr/>
        </p:nvSpPr>
        <p:spPr bwMode="auto">
          <a:xfrm>
            <a:off x="69155" y="5303845"/>
            <a:ext cx="430887" cy="7921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 wrap="square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5,1,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54" name="Text Box 18"/>
          <p:cNvSpPr txBox="1">
            <a:spLocks noChangeArrowheads="1"/>
          </p:cNvSpPr>
          <p:nvPr/>
        </p:nvSpPr>
        <p:spPr bwMode="auto">
          <a:xfrm>
            <a:off x="2357430" y="3381364"/>
            <a:ext cx="430887" cy="7921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95,8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55" name="Text Box 19"/>
          <p:cNvSpPr txBox="1">
            <a:spLocks noChangeArrowheads="1"/>
          </p:cNvSpPr>
          <p:nvPr/>
        </p:nvSpPr>
        <p:spPr bwMode="auto">
          <a:xfrm>
            <a:off x="2285992" y="5310190"/>
            <a:ext cx="430887" cy="5635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 wrap="square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4,2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56" name="Text Box 21"/>
          <p:cNvSpPr txBox="1">
            <a:spLocks noChangeArrowheads="1"/>
          </p:cNvSpPr>
          <p:nvPr/>
        </p:nvSpPr>
        <p:spPr bwMode="auto">
          <a:xfrm>
            <a:off x="4572008" y="3309926"/>
            <a:ext cx="430887" cy="7921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95,5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57" name="Text Box 22"/>
          <p:cNvSpPr txBox="1">
            <a:spLocks noChangeArrowheads="1"/>
          </p:cNvSpPr>
          <p:nvPr/>
        </p:nvSpPr>
        <p:spPr bwMode="auto">
          <a:xfrm>
            <a:off x="4500570" y="5238752"/>
            <a:ext cx="430887" cy="64294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 wrap="square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4,5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58" name="AutoShape 24"/>
          <p:cNvSpPr>
            <a:spLocks/>
          </p:cNvSpPr>
          <p:nvPr/>
        </p:nvSpPr>
        <p:spPr bwMode="auto">
          <a:xfrm>
            <a:off x="500042" y="5095876"/>
            <a:ext cx="142875" cy="792163"/>
          </a:xfrm>
          <a:prstGeom prst="leftBrace">
            <a:avLst>
              <a:gd name="adj1" fmla="val 46204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59" name="AutoShape 25"/>
          <p:cNvSpPr>
            <a:spLocks/>
          </p:cNvSpPr>
          <p:nvPr/>
        </p:nvSpPr>
        <p:spPr bwMode="auto">
          <a:xfrm>
            <a:off x="4929198" y="3024174"/>
            <a:ext cx="71437" cy="1871662"/>
          </a:xfrm>
          <a:prstGeom prst="leftBrace">
            <a:avLst>
              <a:gd name="adj1" fmla="val 218335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61" name="AutoShape 26"/>
          <p:cNvSpPr>
            <a:spLocks/>
          </p:cNvSpPr>
          <p:nvPr/>
        </p:nvSpPr>
        <p:spPr bwMode="auto">
          <a:xfrm>
            <a:off x="2786058" y="5238752"/>
            <a:ext cx="144462" cy="647700"/>
          </a:xfrm>
          <a:prstGeom prst="leftBrace">
            <a:avLst>
              <a:gd name="adj1" fmla="val 37363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62" name="AutoShape 28"/>
          <p:cNvSpPr>
            <a:spLocks noChangeArrowheads="1"/>
          </p:cNvSpPr>
          <p:nvPr/>
        </p:nvSpPr>
        <p:spPr bwMode="auto">
          <a:xfrm>
            <a:off x="500073" y="7453331"/>
            <a:ext cx="719137" cy="503237"/>
          </a:xfrm>
          <a:prstGeom prst="cube">
            <a:avLst>
              <a:gd name="adj" fmla="val 25000"/>
            </a:avLst>
          </a:prstGeom>
          <a:solidFill>
            <a:schemeClr val="accent4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endParaRPr lang="ru-RU" b="1">
              <a:latin typeface="Arial" pitchFamily="34" charset="0"/>
            </a:endParaRPr>
          </a:p>
        </p:txBody>
      </p:sp>
      <p:sp>
        <p:nvSpPr>
          <p:cNvPr id="63" name="Содержимое 5"/>
          <p:cNvSpPr>
            <a:spLocks/>
          </p:cNvSpPr>
          <p:nvPr/>
        </p:nvSpPr>
        <p:spPr bwMode="auto">
          <a:xfrm>
            <a:off x="1357298" y="7524768"/>
            <a:ext cx="3643313" cy="4286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Font typeface="Arial" pitchFamily="34" charset="0"/>
              <a:buNone/>
            </a:pPr>
            <a:r>
              <a:rPr lang="ru-RU" b="1" dirty="0">
                <a:cs typeface="Times New Roman" pitchFamily="18" charset="0"/>
              </a:rPr>
              <a:t>Муниципальные программы</a:t>
            </a:r>
          </a:p>
        </p:txBody>
      </p:sp>
      <p:sp>
        <p:nvSpPr>
          <p:cNvPr id="64" name="AutoShape 30"/>
          <p:cNvSpPr>
            <a:spLocks noChangeArrowheads="1"/>
          </p:cNvSpPr>
          <p:nvPr/>
        </p:nvSpPr>
        <p:spPr bwMode="auto">
          <a:xfrm>
            <a:off x="500042" y="8239148"/>
            <a:ext cx="720725" cy="476250"/>
          </a:xfrm>
          <a:prstGeom prst="cube">
            <a:avLst>
              <a:gd name="adj" fmla="val 25000"/>
            </a:avLst>
          </a:prstGeom>
          <a:solidFill>
            <a:srgbClr val="FFC000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endParaRPr lang="ru-RU" b="1">
              <a:latin typeface="Arial" pitchFamily="34" charset="0"/>
            </a:endParaRPr>
          </a:p>
        </p:txBody>
      </p:sp>
      <p:sp>
        <p:nvSpPr>
          <p:cNvPr id="65" name="AutoShape 31"/>
          <p:cNvSpPr>
            <a:spLocks/>
          </p:cNvSpPr>
          <p:nvPr/>
        </p:nvSpPr>
        <p:spPr bwMode="auto">
          <a:xfrm>
            <a:off x="2714620" y="2809860"/>
            <a:ext cx="144462" cy="2016125"/>
          </a:xfrm>
          <a:prstGeom prst="leftBrace">
            <a:avLst>
              <a:gd name="adj1" fmla="val 116301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66" name="AutoShape 32"/>
          <p:cNvSpPr>
            <a:spLocks/>
          </p:cNvSpPr>
          <p:nvPr/>
        </p:nvSpPr>
        <p:spPr bwMode="auto">
          <a:xfrm>
            <a:off x="5000636" y="5167314"/>
            <a:ext cx="144462" cy="647700"/>
          </a:xfrm>
          <a:prstGeom prst="leftBrace">
            <a:avLst>
              <a:gd name="adj1" fmla="val 37363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67" name="Содержимое 5"/>
          <p:cNvSpPr>
            <a:spLocks/>
          </p:cNvSpPr>
          <p:nvPr/>
        </p:nvSpPr>
        <p:spPr bwMode="auto">
          <a:xfrm>
            <a:off x="1357298" y="8310586"/>
            <a:ext cx="3857625" cy="481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Font typeface="Arial" pitchFamily="34" charset="0"/>
              <a:buNone/>
            </a:pPr>
            <a:r>
              <a:rPr lang="ru-RU" b="1" dirty="0">
                <a:cs typeface="Times New Roman" pitchFamily="18" charset="0"/>
              </a:rPr>
              <a:t>Непрограммные направления</a:t>
            </a:r>
          </a:p>
        </p:txBody>
      </p:sp>
      <p:sp>
        <p:nvSpPr>
          <p:cNvPr id="68" name="AutoShape 10"/>
          <p:cNvSpPr>
            <a:spLocks noChangeArrowheads="1"/>
          </p:cNvSpPr>
          <p:nvPr/>
        </p:nvSpPr>
        <p:spPr bwMode="auto">
          <a:xfrm>
            <a:off x="3071810" y="6096008"/>
            <a:ext cx="1071570" cy="428628"/>
          </a:xfrm>
          <a:prstGeom prst="cube">
            <a:avLst>
              <a:gd name="adj" fmla="val 25000"/>
            </a:avLst>
          </a:prstGeom>
          <a:solidFill>
            <a:schemeClr val="accent3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r>
              <a:rPr lang="ru-RU" sz="1800" b="1" dirty="0" smtClean="0">
                <a:latin typeface="Arial" pitchFamily="34" charset="0"/>
              </a:rPr>
              <a:t>15,6</a:t>
            </a:r>
            <a:endParaRPr lang="ru-RU" sz="1800" b="1" dirty="0">
              <a:latin typeface="Arial" pitchFamily="34" charset="0"/>
            </a:endParaRPr>
          </a:p>
        </p:txBody>
      </p:sp>
      <p:sp>
        <p:nvSpPr>
          <p:cNvPr id="69" name="Text Box 19"/>
          <p:cNvSpPr txBox="1">
            <a:spLocks noChangeArrowheads="1"/>
          </p:cNvSpPr>
          <p:nvPr/>
        </p:nvSpPr>
        <p:spPr bwMode="auto">
          <a:xfrm>
            <a:off x="2428868" y="6024570"/>
            <a:ext cx="430887" cy="5715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 wrap="square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1,0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70" name="AutoShape 10"/>
          <p:cNvSpPr>
            <a:spLocks noChangeArrowheads="1"/>
          </p:cNvSpPr>
          <p:nvPr/>
        </p:nvSpPr>
        <p:spPr bwMode="auto">
          <a:xfrm>
            <a:off x="5286388" y="6024570"/>
            <a:ext cx="1000132" cy="357190"/>
          </a:xfrm>
          <a:prstGeom prst="cube">
            <a:avLst>
              <a:gd name="adj" fmla="val 25000"/>
            </a:avLst>
          </a:prstGeom>
          <a:solidFill>
            <a:schemeClr val="accent3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r>
              <a:rPr lang="ru-RU" sz="1800" b="1" dirty="0" smtClean="0">
                <a:latin typeface="Arial" pitchFamily="34" charset="0"/>
              </a:rPr>
              <a:t>31,2</a:t>
            </a:r>
            <a:endParaRPr lang="ru-RU" sz="1800" b="1" dirty="0">
              <a:latin typeface="Arial" pitchFamily="34" charset="0"/>
            </a:endParaRPr>
          </a:p>
        </p:txBody>
      </p:sp>
      <p:sp>
        <p:nvSpPr>
          <p:cNvPr id="71" name="AutoShape 26"/>
          <p:cNvSpPr>
            <a:spLocks/>
          </p:cNvSpPr>
          <p:nvPr/>
        </p:nvSpPr>
        <p:spPr bwMode="auto">
          <a:xfrm>
            <a:off x="2857496" y="6096008"/>
            <a:ext cx="71438" cy="415588"/>
          </a:xfrm>
          <a:prstGeom prst="leftBrace">
            <a:avLst>
              <a:gd name="adj1" fmla="val 37363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square" anchor="ctr">
            <a:spAutoFit/>
          </a:bodyPr>
          <a:lstStyle/>
          <a:p>
            <a:endParaRPr lang="ru-RU"/>
          </a:p>
        </p:txBody>
      </p:sp>
      <p:sp>
        <p:nvSpPr>
          <p:cNvPr id="72" name="AutoShape 26"/>
          <p:cNvSpPr>
            <a:spLocks/>
          </p:cNvSpPr>
          <p:nvPr/>
        </p:nvSpPr>
        <p:spPr bwMode="auto">
          <a:xfrm>
            <a:off x="5072074" y="6024570"/>
            <a:ext cx="71438" cy="415588"/>
          </a:xfrm>
          <a:prstGeom prst="leftBrace">
            <a:avLst>
              <a:gd name="adj1" fmla="val 37363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square" anchor="ctr">
            <a:spAutoFit/>
          </a:bodyPr>
          <a:lstStyle/>
          <a:p>
            <a:endParaRPr lang="ru-RU"/>
          </a:p>
        </p:txBody>
      </p:sp>
      <p:sp>
        <p:nvSpPr>
          <p:cNvPr id="73" name="Text Box 19"/>
          <p:cNvSpPr txBox="1">
            <a:spLocks noChangeArrowheads="1"/>
          </p:cNvSpPr>
          <p:nvPr/>
        </p:nvSpPr>
        <p:spPr bwMode="auto">
          <a:xfrm>
            <a:off x="4500570" y="5953132"/>
            <a:ext cx="430887" cy="5715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 wrap="square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1,7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74" name="AutoShape 28"/>
          <p:cNvSpPr>
            <a:spLocks noChangeArrowheads="1"/>
          </p:cNvSpPr>
          <p:nvPr/>
        </p:nvSpPr>
        <p:spPr bwMode="auto">
          <a:xfrm>
            <a:off x="500042" y="9024966"/>
            <a:ext cx="719137" cy="357184"/>
          </a:xfrm>
          <a:prstGeom prst="cube">
            <a:avLst>
              <a:gd name="adj" fmla="val 25000"/>
            </a:avLst>
          </a:prstGeom>
          <a:solidFill>
            <a:schemeClr val="accent3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endParaRPr lang="ru-RU" b="1">
              <a:latin typeface="Arial" pitchFamily="34" charset="0"/>
            </a:endParaRPr>
          </a:p>
        </p:txBody>
      </p:sp>
      <p:sp>
        <p:nvSpPr>
          <p:cNvPr id="75" name="Содержимое 5"/>
          <p:cNvSpPr>
            <a:spLocks/>
          </p:cNvSpPr>
          <p:nvPr/>
        </p:nvSpPr>
        <p:spPr bwMode="auto">
          <a:xfrm>
            <a:off x="1428736" y="9024966"/>
            <a:ext cx="4000503" cy="357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Font typeface="Arial" pitchFamily="34" charset="0"/>
              <a:buNone/>
            </a:pPr>
            <a:r>
              <a:rPr lang="ru-RU" b="1" dirty="0" smtClean="0">
                <a:cs typeface="Times New Roman" pitchFamily="18" charset="0"/>
              </a:rPr>
              <a:t>Условно утвержденные расходы</a:t>
            </a:r>
            <a:endParaRPr lang="ru-RU" b="1" dirty="0"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в разрезе муниципальных программ на 2022 год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Диаграмма 3"/>
          <p:cNvGraphicFramePr/>
          <p:nvPr/>
        </p:nvGraphicFramePr>
        <p:xfrm>
          <a:off x="357166" y="1452538"/>
          <a:ext cx="6203444" cy="80010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642918" y="380968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defRPr/>
            </a:pPr>
            <a:r>
              <a:rPr lang="ru-RU" b="1" dirty="0" smtClean="0">
                <a:solidFill>
                  <a:schemeClr val="accent4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РАСХОДЫ БЮДЖЕТА</a:t>
            </a:r>
          </a:p>
          <a:p>
            <a:pPr algn="ctr">
              <a:defRPr/>
            </a:pPr>
            <a:endParaRPr lang="ru-RU" sz="2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бюджета– это выплачиваемые из бюджета денежные средства, которые направляются на финансовое обеспечение задач и функций государственной власти и органов местного самоуправления. </a:t>
            </a:r>
          </a:p>
          <a:p>
            <a:pPr indent="450850" algn="just"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бюджета города Железноводска могут быть детализированы:</a:t>
            </a:r>
          </a:p>
          <a:p>
            <a:pPr indent="450850" algn="just">
              <a:buFont typeface="Arial" charset="0"/>
              <a:buChar char="•"/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 отраслям;</a:t>
            </a:r>
          </a:p>
          <a:p>
            <a:pPr indent="450850" algn="just">
              <a:buFont typeface="Arial" charset="0"/>
              <a:buChar char="•"/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 муниципальным программам и </a:t>
            </a:r>
            <a:r>
              <a:rPr lang="ru-RU" sz="14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епрограммным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направлениям;</a:t>
            </a:r>
          </a:p>
          <a:p>
            <a:pPr indent="450850" algn="just">
              <a:buFont typeface="Arial" charset="0"/>
              <a:buChar char="•"/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  главным распорядителям бюджетных средств;</a:t>
            </a:r>
          </a:p>
          <a:p>
            <a:pPr indent="450850" algn="just">
              <a:buFont typeface="Arial" charset="0"/>
              <a:buChar char="•"/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 видам расходов.</a:t>
            </a:r>
          </a:p>
          <a:p>
            <a:pPr indent="450850" algn="just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r>
              <a:rPr lang="ru-RU" sz="1400" b="1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Дефицит бюджета 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– превышения расходов бюджета над его доходами;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400" b="1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фицит бюджета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превышение доходов бюджета над его расходами; 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r>
              <a:rPr lang="ru-RU" sz="1400" b="1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Муниципальный долг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обязательства, возникающие из муниципальных заимствований, принятые на себя муниципальным образованием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;</a:t>
            </a:r>
          </a:p>
          <a:p>
            <a:pPr indent="450850" algn="just">
              <a:buFont typeface="Arial" charset="0"/>
              <a:buChar char="•"/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ru-RU" sz="2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spcBef>
                <a:spcPts val="0"/>
              </a:spcBef>
              <a:buClr>
                <a:srgbClr val="ED520D"/>
              </a:buClr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ru-RU" sz="2800" b="1" dirty="0">
              <a:solidFill>
                <a:schemeClr val="tx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1000108" y="4667248"/>
            <a:ext cx="3643338" cy="500066"/>
          </a:xfrm>
          <a:prstGeom prst="roundRect">
            <a:avLst/>
          </a:prstGeom>
          <a:noFill/>
          <a:ln w="76200"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marL="87313" lvl="1" algn="ctr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ХОДЫ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1000107" y="5310190"/>
            <a:ext cx="5357829" cy="500066"/>
          </a:xfrm>
          <a:prstGeom prst="roundRect">
            <a:avLst/>
          </a:prstGeom>
          <a:noFill/>
          <a:ln w="76200"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marL="87313" lvl="1" algn="ctr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1000108" y="6667512"/>
            <a:ext cx="5357849" cy="571504"/>
          </a:xfrm>
          <a:prstGeom prst="roundRect">
            <a:avLst/>
          </a:prstGeom>
          <a:noFill/>
          <a:ln w="76200"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marL="87313" lvl="1" algn="ctr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ХОДЫ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1000109" y="7381892"/>
            <a:ext cx="3643337" cy="500066"/>
          </a:xfrm>
          <a:prstGeom prst="roundRect">
            <a:avLst/>
          </a:prstGeom>
          <a:noFill/>
          <a:ln w="76200"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marL="87313" lvl="1" algn="ctr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в разрезе муниципальных программ на 2022 год и плановый период 2023 и 2024 годов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357165" y="2095480"/>
          <a:ext cx="6286521" cy="6574728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2000265"/>
                <a:gridCol w="571480"/>
                <a:gridCol w="642942"/>
                <a:gridCol w="571504"/>
                <a:gridCol w="571504"/>
                <a:gridCol w="642942"/>
                <a:gridCol w="714380"/>
                <a:gridCol w="571504"/>
              </a:tblGrid>
              <a:tr h="177904"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 Наименование муниципальной программы  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b"/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r>
                        <a:rPr lang="ru-RU" sz="90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2022 </a:t>
                      </a:r>
                      <a:r>
                        <a:rPr lang="ru-RU" sz="90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год 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b"/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r>
                        <a:rPr lang="ru-RU" sz="90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2023 год</a:t>
                      </a:r>
                      <a:r>
                        <a:rPr lang="ru-RU" sz="90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b"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 Отклонение 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b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r>
                        <a:rPr lang="ru-RU" sz="90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2024 </a:t>
                      </a:r>
                      <a:r>
                        <a:rPr lang="ru-RU" sz="90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год 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b"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 Отклонение 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b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3370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 (+/-) 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b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 (+/-) 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b"/>
                </a:tc>
              </a:tr>
              <a:tr h="292266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90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«Развитие образования в городе-курорте Железноводске Ставропольского края»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624,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859,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34,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7,6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984,3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25,3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4,6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</a:tr>
              <a:tr h="43641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90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«Социальная поддержка населения города-курорта Железноводска Ставропольского края»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79,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97,6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8,6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,9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16,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8,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,7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</a:tr>
              <a:tr h="43641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90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«Управление имуществом города-курорта Железноводска Ставропольского края»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2,8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1,7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-1,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8,6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1,4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0,3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2,6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</a:tr>
              <a:tr h="43641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90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«Развитие физической культуры и спорта в городе-курорте Железноводске Ставропольского края»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9,9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8,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1,7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8,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7,6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-0,6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3,3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</a:tr>
              <a:tr h="580553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900" u="none" strike="noStrike">
                          <a:latin typeface="Times New Roman" pitchFamily="18" charset="0"/>
                          <a:cs typeface="Times New Roman" pitchFamily="18" charset="0"/>
                        </a:rPr>
                        <a:t>«Развитие градостроительства, строительства и архитектуры в городе-курорте Железноводске Ставропольского края»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8,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1,8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46,4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79,7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1,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-0,3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2,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</a:tr>
              <a:tr h="292266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900" u="none" strike="noStrike">
                          <a:latin typeface="Times New Roman" pitchFamily="18" charset="0"/>
                          <a:cs typeface="Times New Roman" pitchFamily="18" charset="0"/>
                        </a:rPr>
                        <a:t>«Культура города-курорта Железноводска Ставропольского края»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1,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7,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3,7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7,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6,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-1,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3,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</a:tr>
              <a:tr h="292266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90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«Развитие экономики города-курорта Железноводска Ставропольского края»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0,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0,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0,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</a:tr>
              <a:tr h="43641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90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«Развитие жилищно-коммунального хозяйства в городе-курорте Железноводске Ставропольского края»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15,9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89,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26,9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23,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88,7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0,3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0,3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</a:tr>
              <a:tr h="580553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90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«Развитие транспортной системы и охрана окружающей среды в городе-курорте Железноводске Ставропольского края»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46,8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59,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12,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5,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2,6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336,4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93,7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</a:tr>
              <a:tr h="43641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90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«Создание условий безопасной жизни населения города-курорта Железноводска Ставропольского края»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2,8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8,9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3,9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30,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8,6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0,3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-3,4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</a:tr>
              <a:tr h="43641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90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«Открытость и эффективность работы администрации города-курорта Железноводска Ставропольского края»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6,8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3,3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-3,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20,8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2,7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0,6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4,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</a:tr>
              <a:tr h="292266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900" u="none" strike="noStrike">
                          <a:latin typeface="Times New Roman" pitchFamily="18" charset="0"/>
                          <a:cs typeface="Times New Roman" pitchFamily="18" charset="0"/>
                        </a:rPr>
                        <a:t>«Молодежь города-курорта Железноводска Ставропольского края»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,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,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-0,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9,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,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</a:tr>
              <a:tr h="306574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90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"Формирование современной городской среды"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73,9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</a:tr>
              <a:tr h="357190">
                <a:tc>
                  <a:txBody>
                    <a:bodyPr/>
                    <a:lstStyle/>
                    <a:p>
                      <a:pPr algn="l" fontAlgn="t">
                        <a:lnSpc>
                          <a:spcPts val="1200"/>
                        </a:lnSpc>
                      </a:pP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Управление финансами в городе-курорте Железноводске 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4,7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7,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7,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16,8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6,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1,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3,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</a:tr>
              <a:tr h="357190">
                <a:tc>
                  <a:txBody>
                    <a:bodyPr/>
                    <a:lstStyle/>
                    <a:p>
                      <a:pPr algn="l" fontAlgn="t">
                        <a:lnSpc>
                          <a:spcPts val="1200"/>
                        </a:lnSpc>
                      </a:pPr>
                      <a:endParaRPr lang="ru-RU" sz="900" u="none" strike="noStrike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l" fontAlgn="t">
                        <a:lnSpc>
                          <a:spcPts val="1200"/>
                        </a:lnSpc>
                      </a:pPr>
                      <a:r>
                        <a:rPr lang="ru-RU" sz="90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Итого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857,8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954,4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96,6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,2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756,8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197,6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10,1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5" name="Text Box 6"/>
          <p:cNvSpPr txBox="1">
            <a:spLocks noChangeArrowheads="1"/>
          </p:cNvSpPr>
          <p:nvPr/>
        </p:nvSpPr>
        <p:spPr bwMode="auto">
          <a:xfrm>
            <a:off x="5357826" y="1381100"/>
            <a:ext cx="1243354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 b="1" dirty="0" smtClean="0"/>
              <a:t>млн.рублей</a:t>
            </a:r>
            <a:endParaRPr lang="ru-RU" sz="16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500"/>
              </a:lnSpc>
            </a:pPr>
            <a:r>
              <a:rPr lang="ru-RU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Развитие образования в городе-курорте Железноводске Ставропольского края»</a:t>
            </a:r>
          </a:p>
          <a:p>
            <a:pPr algn="ctr">
              <a:lnSpc>
                <a:spcPts val="1500"/>
              </a:lnSpc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вышение доступности и качества образования в городе-курорте Железноводске Ставропольского края;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здание условий, обеспечивающих предоставление доступного и качественного образования в общеобразовательных учреждениях, дошкольных образовательных учреждениях.</a:t>
            </a:r>
          </a:p>
          <a:p>
            <a:pPr algn="ctr">
              <a:lnSpc>
                <a:spcPts val="1500"/>
              </a:lnSpc>
            </a:pPr>
            <a:endParaRPr lang="ru-RU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правление образования администрации города-курорта Железноводска Ставропольского края</a:t>
            </a:r>
          </a:p>
          <a:p>
            <a:pPr algn="ctr">
              <a:lnSpc>
                <a:spcPts val="1500"/>
              </a:lnSpc>
            </a:pPr>
            <a:endParaRPr lang="ru-RU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785794" y="4024306"/>
          <a:ext cx="5857916" cy="5158690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3643340"/>
                <a:gridCol w="428626"/>
                <a:gridCol w="500066"/>
                <a:gridCol w="428628"/>
                <a:gridCol w="428628"/>
                <a:gridCol w="428628"/>
              </a:tblGrid>
              <a:tr h="285752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       измерени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/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8575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год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год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год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год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/>
                </a:tc>
              </a:tr>
              <a:tr h="30655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ровень удовлетворенности населения города-курорта Железноводска Ставропольского края качеством образования: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/>
                </a:tc>
                <a:tc>
                  <a:txBody>
                    <a:bodyPr/>
                    <a:lstStyle/>
                    <a:p>
                      <a:pPr marL="0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/>
                </a:tc>
                <a:tc>
                  <a:txBody>
                    <a:bodyPr/>
                    <a:lstStyle/>
                    <a:p>
                      <a:pPr marL="0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/>
                </a:tc>
                <a:tc>
                  <a:txBody>
                    <a:bodyPr/>
                    <a:lstStyle/>
                    <a:p>
                      <a:pPr marL="0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/>
                </a:tc>
                <a:tc>
                  <a:txBody>
                    <a:bodyPr/>
                    <a:lstStyle/>
                    <a:p>
                      <a:pPr marL="0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/>
                </a:tc>
              </a:tr>
              <a:tr h="2143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школьного образовани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1,3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1,3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1,3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1,3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/>
                </a:tc>
              </a:tr>
              <a:tr h="2143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щего образовани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8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8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8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8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/>
                </a:tc>
              </a:tr>
              <a:tr h="23500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полнительного образовани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/>
                </a:tc>
              </a:tr>
              <a:tr h="5167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привлеченных из федерального и краевого бюджетов субсидий и иных межбюджетных трансфертов на 1 рубль финансирования средств бюджета города в рамках формирования развития дошкольного, общего и дополнительного образования в городе Железноводске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убль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06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08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08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08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/>
                </a:tc>
              </a:tr>
              <a:tr h="5167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детей в возрасте от 1 года до 7 лет, охваченных различными формами дошкольного образования, в общей численности детей дошкольного возраста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66,2</a:t>
                      </a:r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66,2</a:t>
                      </a:r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66,2</a:t>
                      </a:r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66,2</a:t>
                      </a:r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</a:tr>
              <a:tr h="5167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учащихся, обучающихся по федеральному государственному образовательному стандарту начального общего образования, в общей численности учащихся, осваивающих образовательные программы начального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щего образовани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</a:tr>
              <a:tr h="5167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учащихся, обучающихся по федеральному государственному образовательному стандарту основного общего образования, в общей численности учащихся, осваивающих образовательные программы основного общего образовани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</a:tr>
              <a:tr h="5167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выпускников, успешно освоивших программу начального общего образования, в общей численности выпускников, освоивших программу начального общего образовани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</a:tr>
              <a:tr h="5167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выпускников муниципальных общеобразовательных организаций (далее - общеобразовательные организации), не получивших аттестат о среднем общем образовании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1,28</a:t>
                      </a:r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1,28</a:t>
                      </a:r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1,28</a:t>
                      </a:r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1,28</a:t>
                      </a:r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</a:tr>
              <a:tr h="5167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детей, охваченных дополнительным образованием, в общей численности детей и молодежи в возрасте от 5 лет до 18 лет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3,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3,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3,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3,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500"/>
              </a:lnSpc>
            </a:pP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Социальная поддержка населения в городе-курорте Железноводске Ставропольского края»</a:t>
            </a:r>
          </a:p>
          <a:p>
            <a:pPr algn="ctr">
              <a:lnSpc>
                <a:spcPts val="1500"/>
              </a:lnSpc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действие в обеспечении устойчивого роста уровня и качества жизни населения города-курорта Железноводска Ставропольского края;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здание условий для формирования доступной среды жизнедеятельности для инвалидов и других маломобильных групп населения;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уществление деятельности в сфере развития социальной защиты населения города-курорта Железноводска Ставропольского края;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атериальная поддержка детей-сирот и детей, оставшихся без попечения родителей в городе-курорте Железноводске Ставропольского края.</a:t>
            </a:r>
          </a:p>
          <a:p>
            <a:pPr algn="ctr">
              <a:lnSpc>
                <a:spcPts val="1500"/>
              </a:lnSpc>
            </a:pPr>
            <a:endParaRPr lang="ru-RU" sz="1000" b="1" dirty="0" smtClean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правление труда и социальной защиты населения администрации города-курорта Железноводска Ставропольского края</a:t>
            </a: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714356" y="5310190"/>
          <a:ext cx="5857916" cy="3626706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3643340"/>
                <a:gridCol w="428626"/>
                <a:gridCol w="500066"/>
                <a:gridCol w="428628"/>
                <a:gridCol w="428628"/>
                <a:gridCol w="428628"/>
              </a:tblGrid>
              <a:tr h="285752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змерени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8575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г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г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г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г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</a:tr>
              <a:tr h="30655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граждан, которым предоставлены меры социальной поддержки в общей численности граждан, обратившихся и имеющих право на их получение в соответствии с законодательством Российской Федерации и законодательством Ставропольского кра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</a:tr>
              <a:tr h="2143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тношение численности третьих или последующих детей, родившихся в семьях, проживающих на территории города, в отчетном финансовом году, к численности детей указанной категории, родившихся в году, предшествующем отчетному году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-</a:t>
                      </a: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0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</a:tr>
              <a:tr h="2143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семей, получающих субсидии на оплату жилого помещения и коммунальных услуг, в общем количестве семей, проживающих на территории города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,3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,3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,3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,3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</a:tr>
              <a:tr h="23500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доступных для инвалидов и других маломобильных групп населения приоритетных объектов социальной, транспортной, инженерной инфраструктуры в общем количестве приоритетных объектов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</a:tr>
              <a:tr h="27707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реконструированных учреждений культуры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</a:tr>
              <a:tr h="5167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исленность детей-сирот и детей, оставшихся без попечения родителей, переданных на воспитание в семьи граждан Российской Федерации, постоянно проживающих на территории Российской Федерации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/>
                </a:tc>
              </a:tr>
              <a:tr h="26910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исло детей, воспитывающихся в замещающих семьях</a:t>
                      </a: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/>
                </a:tc>
              </a:tr>
              <a:tr h="2143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исло детей, нуждающихся в определении в семью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8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8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8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8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500"/>
              </a:lnSpc>
            </a:pPr>
            <a:r>
              <a:rPr lang="ru-RU" dirty="0" smtClean="0">
                <a:solidFill>
                  <a:schemeClr val="accent4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Управление имуществом города-курорта Железноводска Ставропольского края»</a:t>
            </a:r>
          </a:p>
          <a:p>
            <a:pPr algn="ctr">
              <a:lnSpc>
                <a:spcPts val="1500"/>
              </a:lnSpc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accent4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действие в обеспечении устойчивого роста уровня и качества жизни населения города-курорта Железноводска Ставропольского края;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здание условий для формирования доступной среды жизнедеятельности для инвалидов и других маломобильных групп населения;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уществление деятельности в сфере развития социальной защиты населения города-курорта Железноводска Ставропольского края;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атериальная поддержка детей-сирот и детей, оставшихся без попечения родителей в городе-курорте Железноводске Ставропольского края.</a:t>
            </a:r>
          </a:p>
          <a:p>
            <a:pPr algn="ctr">
              <a:lnSpc>
                <a:spcPts val="1500"/>
              </a:lnSpc>
            </a:pPr>
            <a:endParaRPr lang="ru-RU" sz="1000" b="1" dirty="0" smtClean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accent4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правление имущественных отношений администрации города-курорта Железноводска Ставропольского края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endParaRPr lang="ru-RU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accent4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785794" y="4595810"/>
          <a:ext cx="5857916" cy="4734944"/>
        </p:xfrm>
        <a:graphic>
          <a:graphicData uri="http://schemas.openxmlformats.org/drawingml/2006/table">
            <a:tbl>
              <a:tblPr>
                <a:tableStyleId>{775DCB02-9BB8-47FD-8907-85C794F793BA}</a:tableStyleId>
              </a:tblPr>
              <a:tblGrid>
                <a:gridCol w="3643340"/>
                <a:gridCol w="428626"/>
                <a:gridCol w="500066"/>
                <a:gridCol w="428628"/>
                <a:gridCol w="428628"/>
                <a:gridCol w="428628"/>
              </a:tblGrid>
              <a:tr h="285752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-ца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змерени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8575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 г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3 г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4 г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</a:tr>
              <a:tr h="30655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выполнения плановых назначений по использованию муниципального имущества города-курорта Железноводска Ставропольского кра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</a:tr>
              <a:tr h="2143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выполнения плановых назначений по реализации муниципального имущества города-курорта Железноводска Ставропольского кра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</a:tr>
              <a:tr h="2143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выполнения плановых назначений по арендной плате за земельные участки, а также средств от продажи права на заключение договоров аренды за земли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</a:tr>
              <a:tr h="23500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выполнения плановых назначений от сдачи в аренду имущества, находящегося в оперативном управления органов местного самоуправлени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</a:tr>
              <a:tr h="27707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выполнения плановых назначений от сдачи в аренду имущества, находящегося в муниципальной собственности (казна)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</a:tr>
              <a:tr h="5167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выполнения плановых назначений от перечисления части прибыли, остающейся после уплаты налогов и иных обязательных платежей муниципальных унитарных предприятий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</a:tr>
              <a:tr h="26910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площади земельных участков, являющихся объектами налогообложения земельным налогом, в общей площади территории городского округа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4,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4,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4,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4,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</a:tr>
              <a:tr h="21431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олнение плановых назначений по площади земельных участков, предоставленных для строительства в расчете на 10 тыс. человек населения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га</a:t>
                      </a: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0,54</a:t>
                      </a: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0,54</a:t>
                      </a: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0,54</a:t>
                      </a: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0,54</a:t>
                      </a:r>
                    </a:p>
                  </a:txBody>
                  <a:tcPr marL="42696" marR="42696" marT="0" marB="0" anchor="ctr" horzOverflow="overflow"/>
                </a:tc>
              </a:tr>
              <a:tr h="21431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В том числе земельных участков, предоставляемых для жилищного строительства, индивидуального строительства и комплексного освоения в целях жилищного  </a:t>
                      </a: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га</a:t>
                      </a: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0,13</a:t>
                      </a: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0,13</a:t>
                      </a: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0,13</a:t>
                      </a: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0,13</a:t>
                      </a:r>
                    </a:p>
                  </a:txBody>
                  <a:tcPr marL="42696" marR="42696" marT="0" marB="0" anchor="ctr" horzOverflow="overflow"/>
                </a:tc>
              </a:tr>
              <a:tr h="21431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многоквартирных домов, расположенных на земельных участках, в отношении которых осуществлен государственный кадастровый учет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</a:tr>
              <a:tr h="21431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разработанных и утвержденных нормативных правовых актов в соответствие с планом работы управления имущественных отношений администрации  города-курорта Железноводска Ставропольского кра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</a:tr>
              <a:tr h="21431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исполнения плана проверок при  реализации внутриведомственного контрол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</a:tr>
              <a:tr h="21431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своевременно представленных отраслевыми (функциональными) органами администрации города-курорта Железноводска Ставропольского края отчетов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400"/>
              </a:lnSpc>
              <a:defRPr/>
            </a:pPr>
            <a:r>
              <a:rPr lang="ru-RU" b="1" dirty="0" smtClean="0">
                <a:solidFill>
                  <a:schemeClr val="accent6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Развитие физической культуры и спорта города-курорта Железноводска Ставропольского края»</a:t>
            </a:r>
          </a:p>
          <a:p>
            <a:pPr algn="ctr">
              <a:lnSpc>
                <a:spcPts val="2400"/>
              </a:lnSpc>
            </a:pPr>
            <a:endParaRPr lang="ru-RU" b="1" dirty="0" smtClean="0">
              <a:solidFill>
                <a:schemeClr val="accent6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2400"/>
              </a:lnSpc>
            </a:pPr>
            <a:r>
              <a:rPr lang="ru-RU" sz="1000" b="1" dirty="0" smtClean="0">
                <a:solidFill>
                  <a:schemeClr val="accent6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>
              <a:buFontTx/>
              <a:buChar char="-"/>
            </a:pPr>
            <a:r>
              <a:rPr lang="en-US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здание условий для занятий физической культурой и спортом и приобщения всех слоев населения города-курорта Железноводска Ставропольского края к систематическим занятиям физической культурой и спортом, в том числе и профессиональным спортом.</a:t>
            </a:r>
            <a:endParaRPr lang="en-US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en-US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000" b="1" dirty="0" smtClean="0">
                <a:solidFill>
                  <a:schemeClr val="accent6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>
              <a:buFontTx/>
              <a:buChar char="-"/>
            </a:pPr>
            <a:endParaRPr lang="ru-RU" sz="10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омитет по физической культуре, спорту и туризму администрации города-курорта Железноводска Ставропольского края</a:t>
            </a:r>
            <a:endParaRPr lang="en-US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endParaRPr lang="ru-RU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accent6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642918" y="3893104"/>
          <a:ext cx="6000792" cy="5306841"/>
        </p:xfrm>
        <a:graphic>
          <a:graphicData uri="http://schemas.openxmlformats.org/drawingml/2006/table">
            <a:tbl>
              <a:tblPr>
                <a:tableStyleId>{35758FB7-9AC5-4552-8A53-C91805E547FA}</a:tableStyleId>
              </a:tblPr>
              <a:tblGrid>
                <a:gridCol w="3143272"/>
                <a:gridCol w="642942"/>
                <a:gridCol w="500066"/>
                <a:gridCol w="571504"/>
                <a:gridCol w="571504"/>
                <a:gridCol w="571504"/>
              </a:tblGrid>
              <a:tr h="0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 измерени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2265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0" algn="l"/>
                          <a:tab pos="1011238" algn="l"/>
                        </a:tabLst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г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0" algn="l"/>
                          <a:tab pos="1011238" algn="l"/>
                        </a:tabLst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г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0" algn="l"/>
                          <a:tab pos="1011238" algn="l"/>
                        </a:tabLst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2023 г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0" algn="l"/>
                          <a:tab pos="1011238" algn="l"/>
                        </a:tabLst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202</a:t>
                      </a:r>
                      <a:r>
                        <a:rPr kumimoji="0" lang="en-US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г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2242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дельный вес населения города-курорта Желез­новодска Ставрополь­ского края, системати­чески занимающихся физической культурой и спортом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6,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6,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6,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6,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7388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привлеченных из федерального и краевого бюджетов субсидий и иных межбюджетных трансфертов на 1 рубль финансирования средств бюджета города-курорта Железноводска Ставропольского края в рамках подготовки спортивного резерва и команд в городе-курорте Железноводске Ставропольского края, в том числе среди инвалидов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убль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4359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еспеченность города-курорта Железноводска Ставропольского края спортивными залами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в. м на 10тыс. населения города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2,3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2,3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2,3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2,3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4359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еспеченность города-курорта Железноводска Ставропольского края плавательными бассей­нами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в. м на 10тыс. населения города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3,18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3,18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3,18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3,18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9725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еспеченность города-курорта Железноводска Ставропольского края плоскостными соору­жениями</a:t>
                      </a: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в. м на 10тыс. населения города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7,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7,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7,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7,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7405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ведение спортивно-массовых мероприя­тий, участие в краевых и всероссийских меро­приятиях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174625" marR="0" lvl="0" indent="-174625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8575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исленность спортсме­нов, получивших спор­тивный разряд на ко­личество населения, занимающихся спортом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3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3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3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3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71438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привлеченных из федерального и краевого бюджетов субсидий и иных межбюджетных трансфертов на 1 рубль финансирования средств бюджета города-курорта Железноводска Ставропольского края в рамках подготовки и проведения спортивно-массовых мероприятий в городе-курорте Железноводске Ставропольского кра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убль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143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участников городских мероприятий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 участников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05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08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08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08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4511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участников всероссийских и краевых мероприятий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 участников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2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3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3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3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4735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дельный вес инвалидов города-курорта Железноводска Ставропольского края, систематически занимающихся физической культурой и спортом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 от общего числа инвалидов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,9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,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,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,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500"/>
              </a:lnSpc>
            </a:pPr>
            <a:r>
              <a:rPr lang="ru-RU" b="1" dirty="0" smtClean="0">
                <a:solidFill>
                  <a:schemeClr val="accent4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Развитие градостроительства, строительства и архитектуры города-курорта Железноводска Ставропольского края»</a:t>
            </a:r>
          </a:p>
          <a:p>
            <a:pPr algn="ctr">
              <a:lnSpc>
                <a:spcPts val="1500"/>
              </a:lnSpc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accent4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 algn="just"/>
            <a:r>
              <a:rPr lang="en-US" sz="1000" dirty="0" smtClean="0">
                <a:solidFill>
                  <a:schemeClr val="tx1"/>
                </a:solidFill>
              </a:rPr>
              <a:t>- </a:t>
            </a:r>
            <a:r>
              <a:rPr lang="ru-RU" sz="1000" dirty="0" smtClean="0">
                <a:solidFill>
                  <a:schemeClr val="tx1"/>
                </a:solidFill>
              </a:rPr>
              <a:t>обеспечение устойчивого развития города-курорта Железноводска Ставропольского края;</a:t>
            </a:r>
          </a:p>
          <a:p>
            <a:pPr algn="just"/>
            <a:r>
              <a:rPr lang="en-US" sz="1000" dirty="0" smtClean="0">
                <a:solidFill>
                  <a:schemeClr val="tx1"/>
                </a:solidFill>
              </a:rPr>
              <a:t>- </a:t>
            </a:r>
            <a:r>
              <a:rPr lang="ru-RU" sz="1000" dirty="0" smtClean="0">
                <a:solidFill>
                  <a:schemeClr val="tx1"/>
                </a:solidFill>
              </a:rPr>
              <a:t>создание долгосрочной и гарантированной системы поддержки молодых семей в решении жилищной проблемы с целью улучшения демографической ситуации в городе-курорте Железноводске Ставропольского края;</a:t>
            </a:r>
          </a:p>
          <a:p>
            <a:pPr algn="just"/>
            <a:r>
              <a:rPr lang="en-US" sz="1000" dirty="0" smtClean="0">
                <a:solidFill>
                  <a:schemeClr val="tx1"/>
                </a:solidFill>
              </a:rPr>
              <a:t>- </a:t>
            </a:r>
            <a:r>
              <a:rPr lang="ru-RU" sz="1000" dirty="0" smtClean="0">
                <a:solidFill>
                  <a:schemeClr val="tx1"/>
                </a:solidFill>
              </a:rPr>
              <a:t>совершенствование организационных и нормативно-правовых механизмов в сфере градостроительства.</a:t>
            </a:r>
          </a:p>
          <a:p>
            <a:pPr algn="ctr">
              <a:lnSpc>
                <a:spcPts val="1500"/>
              </a:lnSpc>
            </a:pPr>
            <a:endParaRPr lang="ru-RU" sz="1000" b="1" dirty="0" smtClean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accent4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</a:rPr>
              <a:t>Управление  архитектуры и градостроительства администрации города-курорта Железноводска Ставропольского края</a:t>
            </a:r>
            <a:endParaRPr lang="ru-RU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endParaRPr lang="ru-RU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accent4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500042" y="4238620"/>
          <a:ext cx="6143668" cy="5035354"/>
        </p:xfrm>
        <a:graphic>
          <a:graphicData uri="http://schemas.openxmlformats.org/drawingml/2006/table">
            <a:tbl>
              <a:tblPr>
                <a:tableStyleId>{775DCB02-9BB8-47FD-8907-85C794F793BA}</a:tableStyleId>
              </a:tblPr>
              <a:tblGrid>
                <a:gridCol w="2357454"/>
                <a:gridCol w="785818"/>
                <a:gridCol w="785818"/>
                <a:gridCol w="714380"/>
                <a:gridCol w="714380"/>
                <a:gridCol w="785818"/>
              </a:tblGrid>
              <a:tr h="266747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       измере-ни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2022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г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г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г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</a:t>
                      </a:r>
                      <a:r>
                        <a:rPr kumimoji="0" lang="en-US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г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5425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разработанной градостроительной документации на территории города-курорта Железноводска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Arial Unicode MS" pitchFamily="34" charset="-128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шт.</a:t>
                      </a: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3637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рректировка генерального плана городского округа города-курорта Железноводска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шт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3501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разработанных и утвержденных проектов планировки территории, схем планировочной организации земельных участков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шт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8973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разработанных и утвержденных нормативных правовых актов сфере градостроительной деятельности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1509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муниципальных служащих, повысивших квалификацию в области градостроительной деятельности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6981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оцифрованных архивных топографических материалов (планшетов М 1:500)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кт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9629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молодых семей, улучшивших жилищные условия, в  том числе с помощью ипотечных жилищных кредитов (займов)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 семей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5316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молодых семей, не имеющих детей или имеющих одного или двух детей, а также неполных молодых семей края, состоящих из одного молодого родителя и одного или двух детей, получивших свидетельства (извещения) о праве на получение социальной выплаты на приобретение (строительство) жилого помещени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 семей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6280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молодых семей, имеющих трех и более детей, получивших извещения о праве на получение социальной выплаты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 семей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400"/>
              </a:lnSpc>
              <a:defRPr/>
            </a:pPr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Культура города-курорта Железноводска Ставропольского края»</a:t>
            </a:r>
          </a:p>
          <a:p>
            <a:pPr algn="ctr">
              <a:lnSpc>
                <a:spcPts val="1500"/>
              </a:lnSpc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 algn="just"/>
            <a:r>
              <a:rPr lang="en-US" sz="1000" dirty="0" smtClean="0">
                <a:solidFill>
                  <a:schemeClr val="tx1"/>
                </a:solidFill>
              </a:rPr>
              <a:t>- </a:t>
            </a:r>
            <a:r>
              <a:rPr lang="ru-RU" sz="1000" dirty="0" smtClean="0">
                <a:solidFill>
                  <a:schemeClr val="tx1"/>
                </a:solidFill>
              </a:rPr>
              <a:t>сохранение и развитие культуры города-курорта Железноводска Ставропольского края;</a:t>
            </a:r>
          </a:p>
          <a:p>
            <a:pPr algn="just"/>
            <a:r>
              <a:rPr lang="en-US" sz="1000" dirty="0" smtClean="0">
                <a:solidFill>
                  <a:schemeClr val="tx1"/>
                </a:solidFill>
              </a:rPr>
              <a:t>- </a:t>
            </a:r>
            <a:r>
              <a:rPr lang="ru-RU" sz="1000" dirty="0" smtClean="0">
                <a:solidFill>
                  <a:schemeClr val="tx1"/>
                </a:solidFill>
              </a:rPr>
              <a:t>создание условий для обеспечения свободного доступа населения города-курорта Железноводска Ставропольского края к информации и культурным ценностям;</a:t>
            </a:r>
          </a:p>
          <a:p>
            <a:pPr algn="just"/>
            <a:r>
              <a:rPr lang="en-US" sz="1000" dirty="0" smtClean="0">
                <a:solidFill>
                  <a:schemeClr val="tx1"/>
                </a:solidFill>
              </a:rPr>
              <a:t>- </a:t>
            </a:r>
            <a:r>
              <a:rPr lang="ru-RU" sz="1000" dirty="0" smtClean="0">
                <a:solidFill>
                  <a:schemeClr val="tx1"/>
                </a:solidFill>
              </a:rPr>
              <a:t>обеспечение безопасных и благоприятных условий для проведения общегородских мероприятий. </a:t>
            </a:r>
          </a:p>
          <a:p>
            <a:pPr algn="ctr">
              <a:lnSpc>
                <a:spcPts val="1500"/>
              </a:lnSpc>
            </a:pPr>
            <a:endParaRPr lang="ru-RU" sz="1000" b="1" dirty="0" smtClean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правление культуры администрации города-курорта Железноводска Ставропольского края</a:t>
            </a: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  <a:endParaRPr lang="ru-RU" b="1" dirty="0" smtClean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357166" y="4024306"/>
          <a:ext cx="6143668" cy="3459336"/>
        </p:xfrm>
        <a:graphic>
          <a:graphicData uri="http://schemas.openxmlformats.org/drawingml/2006/table">
            <a:tbl>
              <a:tblPr>
                <a:tableStyleId>{69C7853C-536D-4A76-A0AE-DD22124D55A5}</a:tableStyleId>
              </a:tblPr>
              <a:tblGrid>
                <a:gridCol w="2571768"/>
                <a:gridCol w="928694"/>
                <a:gridCol w="714380"/>
                <a:gridCol w="642942"/>
                <a:gridCol w="642942"/>
                <a:gridCol w="642942"/>
              </a:tblGrid>
              <a:tr h="185038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 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 измерения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 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0958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</a:t>
                      </a:r>
                      <a:r>
                        <a:rPr kumimoji="0" lang="en-US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41923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культурно-массовых мероприятий, проводимых муниципальными учреждениями культуры города-курорта Железноводска Ставропольского края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иниц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73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74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74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74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446597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участников клубных формирований (в том числе любительских объединений и формирований самодеятельного народного творчества)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.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20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23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23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23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49603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человек, принявших участие в культурно-массовых мероприятиях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ыс.чел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93,8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,0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,0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,0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34341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исло пользователей централизованной библиотечной системы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ыс. чел.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,5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,6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,6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,6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42183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экземпляров библиотечного фонда в централизованной библиотечной системе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ыс. экземпляров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28,1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28,3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28,3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28,3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32975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посещений централизованной библиотечной системы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ыс. чел.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9,0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32,0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32,0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32,0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35768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новых поступлений в библиотечный фонд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1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1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1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1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400"/>
              </a:lnSpc>
            </a:pPr>
            <a:r>
              <a:rPr lang="ru-RU" b="1" dirty="0" smtClean="0">
                <a:solidFill>
                  <a:schemeClr val="accent3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Развитие экономики города-курорта Железноводска Ставропольского края»</a:t>
            </a:r>
          </a:p>
          <a:p>
            <a:pPr algn="ctr">
              <a:lnSpc>
                <a:spcPts val="1500"/>
              </a:lnSpc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accent3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 algn="just"/>
            <a:r>
              <a:rPr lang="en-US" sz="1000" dirty="0" smtClean="0">
                <a:solidFill>
                  <a:schemeClr val="tx1"/>
                </a:solidFill>
              </a:rPr>
              <a:t>- </a:t>
            </a:r>
            <a:r>
              <a:rPr lang="ru-RU" sz="1000" dirty="0" smtClean="0">
                <a:solidFill>
                  <a:schemeClr val="tx1"/>
                </a:solidFill>
              </a:rPr>
              <a:t>обеспечение благоприятных условий для развития малого и среднего  предпринимательства в городе-курорте Железноводске  Ставропольского края;</a:t>
            </a:r>
          </a:p>
          <a:p>
            <a:pPr algn="just"/>
            <a:r>
              <a:rPr lang="en-US" sz="1000" dirty="0" smtClean="0">
                <a:solidFill>
                  <a:schemeClr val="tx1"/>
                </a:solidFill>
              </a:rPr>
              <a:t>- </a:t>
            </a:r>
            <a:r>
              <a:rPr lang="ru-RU" sz="1000" dirty="0" smtClean="0">
                <a:solidFill>
                  <a:schemeClr val="tx1"/>
                </a:solidFill>
              </a:rPr>
              <a:t>обеспечение для населения города-курорта Железноводска Ставропольского края доступности потребительского рынка, формирование благоприятных возможностей для товаропроизводителей Ставропольского края;</a:t>
            </a:r>
          </a:p>
          <a:p>
            <a:pPr algn="just"/>
            <a:r>
              <a:rPr lang="en-US" sz="1000" dirty="0" smtClean="0">
                <a:solidFill>
                  <a:schemeClr val="tx1"/>
                </a:solidFill>
              </a:rPr>
              <a:t>- </a:t>
            </a:r>
            <a:r>
              <a:rPr lang="ru-RU" sz="1000" dirty="0" smtClean="0">
                <a:solidFill>
                  <a:schemeClr val="tx1"/>
                </a:solidFill>
              </a:rPr>
              <a:t>устойчивое развитие конкурентоспособной санаторно-курортной и туристско-рекреационной сферы в городе-курорте Железноводске Ставропольского края;</a:t>
            </a:r>
          </a:p>
          <a:p>
            <a:pPr algn="just"/>
            <a:r>
              <a:rPr lang="en-US" sz="1000" dirty="0" smtClean="0">
                <a:solidFill>
                  <a:schemeClr val="tx1"/>
                </a:solidFill>
              </a:rPr>
              <a:t>- </a:t>
            </a:r>
            <a:r>
              <a:rPr lang="ru-RU" sz="1000" dirty="0" smtClean="0">
                <a:solidFill>
                  <a:schemeClr val="tx1"/>
                </a:solidFill>
              </a:rPr>
              <a:t>предупреждение и профилактика производственного травматизма, сохранение жизни и здоровья человека в процессе труда, разработка комплекса мер по усилению профилактической работы по охране труда.</a:t>
            </a:r>
          </a:p>
          <a:p>
            <a:pPr algn="ctr">
              <a:lnSpc>
                <a:spcPts val="1500"/>
              </a:lnSpc>
            </a:pPr>
            <a:endParaRPr lang="ru-RU" sz="1000" b="1" dirty="0" smtClean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accent3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</a:rPr>
              <a:t>администрация города–курорта Железноводска Ставропольского края (отдел по экономике, торговле, инвестициям, курорту и туризму  администрации города-курорта </a:t>
            </a:r>
            <a:endParaRPr lang="en-US" sz="1000" dirty="0" smtClean="0">
              <a:solidFill>
                <a:schemeClr val="tx1"/>
              </a:solidFill>
            </a:endParaRPr>
          </a:p>
          <a:p>
            <a:pPr indent="360363" algn="ctr">
              <a:lnSpc>
                <a:spcPts val="1500"/>
              </a:lnSpc>
            </a:pPr>
            <a:endParaRPr lang="en-US" sz="1000" dirty="0" smtClean="0">
              <a:solidFill>
                <a:schemeClr val="tx1"/>
              </a:solidFill>
            </a:endParaRPr>
          </a:p>
          <a:p>
            <a:pPr indent="360363" algn="ctr">
              <a:lnSpc>
                <a:spcPts val="1500"/>
              </a:lnSpc>
            </a:pPr>
            <a:r>
              <a:rPr lang="ru-RU" sz="1000" dirty="0" smtClean="0"/>
              <a:t>)</a:t>
            </a:r>
            <a:r>
              <a:rPr lang="ru-RU" sz="1000" b="1" dirty="0" smtClean="0">
                <a:solidFill>
                  <a:schemeClr val="accent3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  <a:endParaRPr lang="ru-RU" b="1" dirty="0" smtClean="0">
              <a:solidFill>
                <a:schemeClr val="accent3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285728" y="4452934"/>
          <a:ext cx="6357983" cy="5292869"/>
        </p:xfrm>
        <a:graphic>
          <a:graphicData uri="http://schemas.openxmlformats.org/drawingml/2006/table">
            <a:tbl>
              <a:tblPr>
                <a:tableStyleId>{284E427A-3D55-4303-BF80-6455036E1DE7}</a:tableStyleId>
              </a:tblPr>
              <a:tblGrid>
                <a:gridCol w="3643339"/>
                <a:gridCol w="642942"/>
                <a:gridCol w="500066"/>
                <a:gridCol w="500066"/>
                <a:gridCol w="571504"/>
                <a:gridCol w="500066"/>
              </a:tblGrid>
              <a:tr h="165828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змерени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2528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</a:t>
                      </a:r>
                      <a:r>
                        <a:rPr kumimoji="0" lang="en-US" sz="8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236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емп роста выручки от реализации товаров, выполнения работ и оказания услуг малых и средних предприятий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 к </a:t>
                      </a:r>
                      <a:r>
                        <a:rPr kumimoji="0" lang="ru-RU" sz="8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еды-дущ</a:t>
                      </a: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 году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05,5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05,8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05,8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05,8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1574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Численность занятых в сфере малого и среднего предпринимательства, включая индивидуальных предпринимателей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человек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7 28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7 828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7 828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7 828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110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оличество субъектов малого и среднего предпринимательства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иниц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 627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 681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 681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 681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9110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среднесписочной численности работников (без внешних совместителей) малых и средних предприятий в среднесписочной численности работников (без внешних совместителей) всех предприятий и организаций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ов</a:t>
                      </a: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8,5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9,5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9,5</a:t>
                      </a:r>
                      <a:endParaRPr kumimoji="0" lang="ru-RU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9,5</a:t>
                      </a:r>
                      <a:endParaRPr kumimoji="0" lang="ru-RU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6718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исло субъектов малого и среднего предпринимательства в расчете на 10 тыс. человек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иниц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559,4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614,4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614,4</a:t>
                      </a:r>
                      <a:endParaRPr kumimoji="0" lang="ru-RU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614,4</a:t>
                      </a:r>
                      <a:endParaRPr kumimoji="0" lang="ru-RU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81851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еспеченность населения города на 1000 жителей: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орговыми площадями;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садочными местами в предприятиях общественного питания в общедоступной сети;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ытовыми услугами (рабочих мест предприятий бытового обслуживания)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в. м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</a:t>
                      </a:r>
                      <a:endParaRPr kumimoji="0" lang="ru-RU" sz="800" u="none" strike="noStrike" cap="none" normalizeH="0" baseline="0" dirty="0" smtClean="0">
                        <a:ln>
                          <a:noFill/>
                        </a:ln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762,0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87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37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763,0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87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37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763,0</a:t>
                      </a:r>
                      <a:endParaRPr kumimoji="0" lang="ru-RU" sz="800" u="none" strike="noStrike" cap="none" normalizeH="0" baseline="0" dirty="0" smtClean="0">
                        <a:ln>
                          <a:noFill/>
                        </a:ln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7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7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763,0</a:t>
                      </a:r>
                      <a:endParaRPr kumimoji="0" lang="ru-RU" sz="800" u="none" strike="noStrike" cap="none" normalizeH="0" baseline="0" dirty="0" smtClean="0">
                        <a:ln>
                          <a:noFill/>
                        </a:ln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7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7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0313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Темп роста оборота общественного питания к предыдущему году в действующих ценах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3,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4,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4,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4,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0694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Индекс  оборота розничной торговли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2,6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3,7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3,7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3,7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728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туристов, посетивших город-курорт Железноводск Ставропольского кра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ыс. чел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1,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7,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7,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7,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0925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Увеличение количества койко-мест в коллективных средствах размещения               города-курорта Железноводска Ставропольского края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единиц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756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856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856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856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3076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работающих в санаторно-курортной и туристско-рекреационной сфере города–курорта Железноводска Ставропольского кра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44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57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57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57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9760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оличество специалистов, прошедших обучение по охране труда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3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3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3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3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3840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оличество участников ежегодного городского конкурса на лучшую организацию работы по охране труда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,7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,6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,6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,6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400"/>
              </a:lnSpc>
            </a:pPr>
            <a:r>
              <a:rPr lang="ru-RU" b="1" dirty="0" smtClean="0">
                <a:solidFill>
                  <a:schemeClr val="accent4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Развитие жилищно-коммунального хозяйства в городе-курорте Железноводске Ставропольского края»</a:t>
            </a:r>
          </a:p>
          <a:p>
            <a:pPr algn="ctr">
              <a:lnSpc>
                <a:spcPts val="1400"/>
              </a:lnSpc>
            </a:pPr>
            <a:endParaRPr lang="ru-RU" b="1" dirty="0" smtClean="0">
              <a:solidFill>
                <a:schemeClr val="accent3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accent4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 algn="just"/>
            <a:r>
              <a:rPr lang="en-US" sz="1000" dirty="0" smtClean="0">
                <a:solidFill>
                  <a:schemeClr val="tx1"/>
                </a:solidFill>
              </a:rPr>
              <a:t>- </a:t>
            </a:r>
            <a:r>
              <a:rPr lang="ru-RU" sz="1000" dirty="0" smtClean="0">
                <a:solidFill>
                  <a:schemeClr val="tx1"/>
                </a:solidFill>
              </a:rPr>
              <a:t>повышение уровня комплексного благоустройства территории города-курорта Железноводска Ставропольского края;</a:t>
            </a:r>
          </a:p>
          <a:p>
            <a:pPr algn="just"/>
            <a:r>
              <a:rPr lang="ru-RU" sz="1000" dirty="0" smtClean="0">
                <a:solidFill>
                  <a:schemeClr val="tx1"/>
                </a:solidFill>
              </a:rPr>
              <a:t>- формирование в городе-курорте Железноводске Ставропольского края условий для повышения эффективности использования энергетических ресурсов;</a:t>
            </a:r>
          </a:p>
          <a:p>
            <a:pPr algn="just"/>
            <a:r>
              <a:rPr lang="ru-RU" sz="1000" dirty="0" smtClean="0">
                <a:solidFill>
                  <a:schemeClr val="tx1"/>
                </a:solidFill>
              </a:rPr>
              <a:t>- создание условий для осуществления управления городским хозяйством и нормативно-правового регулирования в сфере жилищно-коммунального хозяйства;</a:t>
            </a:r>
          </a:p>
          <a:p>
            <a:pPr algn="just"/>
            <a:r>
              <a:rPr lang="ru-RU" sz="1000" dirty="0" smtClean="0">
                <a:solidFill>
                  <a:schemeClr val="tx1"/>
                </a:solidFill>
              </a:rPr>
              <a:t>- повышение эффективности использования, охраны, защиты и воспроизводства лесов, расположенных на землях лесного фонда города-курорта Железноводска Ставропольского края.</a:t>
            </a:r>
          </a:p>
          <a:p>
            <a:pPr algn="just">
              <a:lnSpc>
                <a:spcPts val="1500"/>
              </a:lnSpc>
            </a:pPr>
            <a:endParaRPr lang="ru-RU" sz="10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accent4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</a:rPr>
              <a:t>управление  городского хозяйства администрации города-курорта Железноводска Ставропольского края</a:t>
            </a:r>
            <a:endParaRPr lang="en-US" sz="1000" dirty="0" smtClean="0">
              <a:solidFill>
                <a:schemeClr val="tx1"/>
              </a:solidFill>
            </a:endParaRPr>
          </a:p>
          <a:p>
            <a:pPr indent="360363" algn="ctr">
              <a:lnSpc>
                <a:spcPts val="1500"/>
              </a:lnSpc>
            </a:pPr>
            <a:r>
              <a:rPr lang="ru-RU" sz="1000" dirty="0" smtClean="0"/>
              <a:t>)</a:t>
            </a:r>
            <a:r>
              <a:rPr lang="ru-RU" sz="1000" b="1" dirty="0" smtClean="0">
                <a:solidFill>
                  <a:schemeClr val="accent4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  <a:endParaRPr lang="ru-RU" b="1" dirty="0" smtClean="0">
              <a:solidFill>
                <a:schemeClr val="accent4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285728" y="4310058"/>
          <a:ext cx="6357983" cy="5429287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4146921"/>
                <a:gridCol w="386935"/>
                <a:gridCol w="497488"/>
                <a:gridCol w="442219"/>
                <a:gridCol w="442210"/>
                <a:gridCol w="442210"/>
              </a:tblGrid>
              <a:tr h="153526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 измерени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0705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г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г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г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г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5587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территории города, на которой проводятся мероприятия по благоустройству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5890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благоустроенной территории муниципального образования, на которой проводятся мероприятия по благоустройству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2793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величение протяженности сетей водоотведения на территории города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м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5587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кращение количества обращений граждан по вопросам благоустройства города-курорта Железноводска Ставропольского кра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шт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87862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Протяженность сетей водоотведения на территории города-курорта Железноводска Ставропольского края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 pitchFamily="18" charset="0"/>
                          <a:cs typeface="Times New Roman" pitchFamily="18" charset="0"/>
                        </a:rPr>
                        <a:t>км</a:t>
                      </a:r>
                      <a:endParaRPr lang="ru-RU" sz="80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134,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134,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134,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134,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12049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Площадь благоустроенной территории Курортного парка города-курорта Железноводска Ставропольского края, на которой проводятся мероприятия по благоустройству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кв.м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57 263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57 263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57 263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57 263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55876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Площадь благоустроенной территории городского парка имени Станислава Говорухина, на которой проводятся мероприятия по благоустройству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кв.м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8 458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8 458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8 458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8 458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01896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Площадь благоустроенных территорий муниципального образования, на которых проводятся мероприятия по благоустройству 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кв.м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 pitchFamily="18" charset="0"/>
                          <a:cs typeface="Times New Roman" pitchFamily="18" charset="0"/>
                        </a:rPr>
                        <a:t>96 268</a:t>
                      </a:r>
                      <a:endParaRPr lang="ru-RU" sz="80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96 268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96 268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96 268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23571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Количество обращений граждан по вопросам благоустройства города-курорта Железноводска Ставропольского края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шт.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60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65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65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65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11485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Площадь улиц и проездов, находящихся на территории муниципального образования, обеспеченных освещением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кв.км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1, 9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1,</a:t>
                      </a: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9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1,</a:t>
                      </a: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9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1,</a:t>
                      </a: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9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99401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Общая площадь улиц и проездов, находящихся на территории муниципального образования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кв.км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2 </a:t>
                      </a: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,12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2 </a:t>
                      </a: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,12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2,</a:t>
                      </a: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12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2,</a:t>
                      </a: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12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65054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Сокращение потребления электрической энергии на 1 кв. метр освещаемой территории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 pitchFamily="18" charset="0"/>
                          <a:cs typeface="Times New Roman" pitchFamily="18" charset="0"/>
                        </a:rPr>
                        <a:t>кВт/ч/кв.м</a:t>
                      </a:r>
                      <a:endParaRPr lang="ru-RU" sz="80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 pitchFamily="18" charset="0"/>
                          <a:cs typeface="Times New Roman" pitchFamily="18" charset="0"/>
                        </a:rPr>
                        <a:t>0,01</a:t>
                      </a:r>
                      <a:endParaRPr lang="ru-RU" sz="80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0,01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0,01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0,01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55876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Доля замененных оконных блоков в общем количестве оконных блоков, требующих замены в образовательных учреждениях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%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100,0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100,0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100,0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100,0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63143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Увеличение доли образовательных организаций со стопроцентной заменой оконных блоков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%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8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8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8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8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63799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Количество установленных энергоэффективных светильников на улицах и проездах города-курорта Железноводска Ставропольского края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шт.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23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23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23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23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65054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Количество установленных энергоэффективных светильников в административных зданиях города-курорта Железноводска Ставропольского края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шт.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endParaRPr lang="ru-RU" sz="80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endParaRPr lang="ru-RU" sz="80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65054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Количество потребляемой электрической энергии на освещаемой территории улиц и проездов, находящихся на территории муниципального образования, в год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кВт/ч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1,16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 pitchFamily="18" charset="0"/>
                          <a:cs typeface="Times New Roman" pitchFamily="18" charset="0"/>
                        </a:rPr>
                        <a:t>1,16</a:t>
                      </a:r>
                      <a:endParaRPr lang="ru-RU" sz="80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1,16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1,16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400"/>
              </a:lnSpc>
            </a:pPr>
            <a:r>
              <a:rPr lang="ru-RU" b="1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Развитие транспортной системы и охрана окружающей среды в городе-курорте Железноводске Ставропольского края»</a:t>
            </a:r>
          </a:p>
          <a:p>
            <a:pPr algn="ctr">
              <a:lnSpc>
                <a:spcPts val="1400"/>
              </a:lnSpc>
            </a:pPr>
            <a:endParaRPr lang="ru-RU" b="1" dirty="0" smtClean="0">
              <a:solidFill>
                <a:schemeClr val="accent4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 algn="just"/>
            <a:r>
              <a:rPr lang="en-US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- </a:t>
            </a: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звитие транспортной системы и обеспечение безопасности дорожного движения в городе-курорте Железноводске Ставропольского края;</a:t>
            </a:r>
          </a:p>
          <a:p>
            <a:pPr algn="just"/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еспечение санитарно-эпидемиологического благополучия на территории города-курорта Железноводска Ставропольского края.</a:t>
            </a:r>
          </a:p>
          <a:p>
            <a:pPr algn="just">
              <a:lnSpc>
                <a:spcPts val="1500"/>
              </a:lnSpc>
            </a:pPr>
            <a:endParaRPr lang="ru-RU" sz="10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</a:rPr>
              <a:t>управление городского хозяйства администрации города-курорта Железноводска Ставропольского края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endParaRPr lang="ru-RU" sz="1000" dirty="0" smtClean="0">
              <a:solidFill>
                <a:schemeClr val="tx1"/>
              </a:solidFill>
            </a:endParaRPr>
          </a:p>
          <a:p>
            <a:pPr indent="360363" algn="ctr">
              <a:lnSpc>
                <a:spcPts val="1500"/>
              </a:lnSpc>
            </a:pPr>
            <a:r>
              <a:rPr lang="ru-RU" sz="1000" dirty="0" smtClean="0"/>
              <a:t>)</a:t>
            </a:r>
            <a:r>
              <a:rPr lang="ru-RU" sz="1000" b="1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  <a:endParaRPr lang="ru-RU" b="1" dirty="0" smtClean="0">
              <a:solidFill>
                <a:schemeClr val="accent2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357166" y="3881430"/>
          <a:ext cx="6143677" cy="5738844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4066441"/>
                <a:gridCol w="356831"/>
                <a:gridCol w="515535"/>
                <a:gridCol w="407802"/>
                <a:gridCol w="408961"/>
                <a:gridCol w="388107"/>
              </a:tblGrid>
              <a:tr h="169388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 изме-рени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9523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8572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Протяженность автомобильных дорог общего пользования местного значения на территории города-курорта Железноводска Ставропольского края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b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м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30,6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30,6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30,6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30,6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823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тяженность автомобильных дорог общего пользования местного значения не отвечающих нормативным требованиям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b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м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,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,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,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,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823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кращение количества дорожно-транспортных происшествий относительно предыдущего года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823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кращение количества раненых при дорожно-транспортных происшествиях относительно предыдущего года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823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кращение количества погибших при дорожно-транспортных происшествиях относительно предыдущего года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823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автомобильных дорог муниципального значения прошедших паспоритизацию объекта</a:t>
                      </a: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6462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дорожно-транспортных происшествий, зарегистрированных на автомобильных дорогах муниципального значения, из-за сопутствующих дорожных условий в общем количестве дорожно-транспортных происшествий в городе-курорте Железноводске  Ставропольского кра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70578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пострадавших в результате дорожно-транспортных происшествий, зарегистрированных на автомобильных дорогах муниципального значения, из за сопутствующих дорожных условий в общем количестве пострадавших в результате дорожно-транспортных происшествий в городе-курорте Железноводске Ставропольского кра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74519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погибших в результате дорожно-транспортных происшествий, зарегистрированных на автомобильных дорогах муниципального значения, из за сопутствующих дорожных условий в общем количестве погибших в результате дорожно-транспортных происшествий в городе-курорте Железноводске Ставропольского кра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6462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величение протяженности автомобильных дорог общего пользования местного значения в границах города-курорта Железноводска Ставропольского края и искусственных сооружений на них приведенных в нормативное состояние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м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2098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лощадь территории, города-курорта Железноводска, на которой проводятся мероприятия по борьбе с  воздействием опасных для экологии факторов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в. м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7 0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7 0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7 0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7 0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9339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пожаров в лесных массивах, относящихся к городу-курорту Железноводску Ставропольского кра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шт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823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жегодная ликвидация стихийных свалок на территории муниципального образования город-курорт Железноводск  Ставропольского кра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шт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r>
              <a:rPr lang="ru-RU" sz="1400" b="1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ежбюджетные трансферты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средства предоставляемые одним бюджетом бюджетной системы Российской Федерации другому бюджету бюджетной системы Российской Федерации;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400" b="1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тации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межбюджетные трансферты предоставляемые на безвозмездной и безвозвратной основе без установления направлений и (или) условий их использования;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  </a:t>
            </a:r>
            <a:r>
              <a:rPr lang="ru-RU" sz="1400" b="1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убсидии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межбюджетные трансферты, предоставляемые местному бюджету в целях </a:t>
            </a:r>
            <a:r>
              <a:rPr lang="ru-RU" sz="14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финансирования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расходных обязательств, возникающих при выполнении полномочий органов местного самоуправления по вопросам местного значения;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 </a:t>
            </a:r>
            <a:r>
              <a:rPr lang="ru-RU" sz="1400" b="1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убвенции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межбюджетные трансферты, предоставляемые местному бюджету в целях финансового обеспечения расходных обязательств муниципального образования, возникающих при выполнении государственных полномочий Российской Федерации, субъекта Российской Федерации, переданных для осуществления органам местного самоуправления в установленном порядке.</a:t>
            </a:r>
          </a:p>
          <a:p>
            <a:pPr algn="ctr">
              <a:lnSpc>
                <a:spcPct val="150000"/>
              </a:lnSpc>
              <a:defRPr/>
            </a:pPr>
            <a:endParaRPr lang="ru-RU" sz="2800" b="1" dirty="0">
              <a:solidFill>
                <a:schemeClr val="tx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1142984" y="6738950"/>
            <a:ext cx="1428760" cy="2214578"/>
          </a:xfrm>
          <a:prstGeom prst="roundRect">
            <a:avLst>
              <a:gd name="adj" fmla="val 10513"/>
            </a:avLst>
          </a:prstGeom>
          <a:ln w="762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vert270" anchor="ctr"/>
          <a:lstStyle/>
          <a:p>
            <a:pPr marL="0" lvl="1" algn="ctr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ЕЖБЮДЖЕТНЫЕ ТРАНСФЕРТЫ</a:t>
            </a:r>
            <a:endParaRPr lang="ru-RU" sz="1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3714752" y="6738950"/>
            <a:ext cx="2571768" cy="571504"/>
          </a:xfrm>
          <a:prstGeom prst="roundRect">
            <a:avLst/>
          </a:prstGeom>
          <a:noFill/>
          <a:ln w="76200"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marL="87313" lvl="1" algn="ctr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ТАЦИИ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3714752" y="7524768"/>
            <a:ext cx="2571792" cy="571504"/>
          </a:xfrm>
          <a:prstGeom prst="roundRect">
            <a:avLst/>
          </a:prstGeom>
          <a:noFill/>
          <a:ln w="76200"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marL="87313" lvl="1" algn="ctr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УБСИДИИ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3714752" y="8310598"/>
            <a:ext cx="2571768" cy="571492"/>
          </a:xfrm>
          <a:prstGeom prst="roundRect">
            <a:avLst/>
          </a:prstGeom>
          <a:noFill/>
          <a:ln w="76200"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marL="87313" lvl="1" algn="ctr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УБВЕНЦИИ</a:t>
            </a:r>
          </a:p>
        </p:txBody>
      </p:sp>
      <p:sp>
        <p:nvSpPr>
          <p:cNvPr id="11" name="Стрелка вправо 10"/>
          <p:cNvSpPr/>
          <p:nvPr/>
        </p:nvSpPr>
        <p:spPr>
          <a:xfrm>
            <a:off x="2714620" y="6810388"/>
            <a:ext cx="857256" cy="357190"/>
          </a:xfrm>
          <a:prstGeom prst="rightArrow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Стрелка вправо 11"/>
          <p:cNvSpPr/>
          <p:nvPr/>
        </p:nvSpPr>
        <p:spPr>
          <a:xfrm>
            <a:off x="2714620" y="7596206"/>
            <a:ext cx="857256" cy="357190"/>
          </a:xfrm>
          <a:prstGeom prst="rightArrow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Стрелка вправо 12"/>
          <p:cNvSpPr/>
          <p:nvPr/>
        </p:nvSpPr>
        <p:spPr>
          <a:xfrm>
            <a:off x="2714620" y="8382024"/>
            <a:ext cx="857256" cy="357190"/>
          </a:xfrm>
          <a:prstGeom prst="rightArrow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Номер слайда 1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7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400"/>
              </a:lnSpc>
            </a:pPr>
            <a:r>
              <a:rPr lang="ru-RU" b="1" dirty="0" smtClean="0">
                <a:solidFill>
                  <a:schemeClr val="accent5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Создание условий безопасной жизни населения города-курорта Железноводска Ставропольского края»</a:t>
            </a: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accent5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 algn="just">
              <a:lnSpc>
                <a:spcPts val="1200"/>
              </a:lnSpc>
            </a:pPr>
            <a:r>
              <a:rPr lang="ru-RU" sz="1000" dirty="0" smtClean="0">
                <a:solidFill>
                  <a:schemeClr val="tx1"/>
                </a:solidFill>
              </a:rPr>
              <a:t>- обеспечение безопасности населения, защита жизни и здоровья граждан, их прав и свобод;</a:t>
            </a:r>
          </a:p>
          <a:p>
            <a:pPr algn="just">
              <a:lnSpc>
                <a:spcPts val="1200"/>
              </a:lnSpc>
            </a:pPr>
            <a:r>
              <a:rPr lang="ru-RU" sz="1000" dirty="0" smtClean="0">
                <a:solidFill>
                  <a:schemeClr val="tx1"/>
                </a:solidFill>
              </a:rPr>
              <a:t>- профилактика правонарушений и преступлений на территории города-курорта Железноводска Ставропольского края;</a:t>
            </a:r>
          </a:p>
          <a:p>
            <a:pPr algn="just">
              <a:lnSpc>
                <a:spcPts val="1200"/>
              </a:lnSpc>
            </a:pPr>
            <a:r>
              <a:rPr lang="ru-RU" sz="1000" dirty="0" smtClean="0">
                <a:solidFill>
                  <a:schemeClr val="tx1"/>
                </a:solidFill>
              </a:rPr>
              <a:t>- обеспечение условий для привлечения казаков Железноводского городского казачьего общества Ставропольского окружного казачьего общества (далее - ЖГКО СОКО ТВКО) к несению государственной и иной службы.</a:t>
            </a:r>
          </a:p>
          <a:p>
            <a:pPr algn="just">
              <a:lnSpc>
                <a:spcPts val="1200"/>
              </a:lnSpc>
              <a:buFontTx/>
              <a:buChar char="-"/>
            </a:pPr>
            <a:r>
              <a:rPr lang="ru-RU" sz="1000" dirty="0" smtClean="0">
                <a:solidFill>
                  <a:schemeClr val="tx1"/>
                </a:solidFill>
              </a:rPr>
              <a:t>профилактика террористических и экстремистских проявлений на </a:t>
            </a:r>
            <a:br>
              <a:rPr lang="ru-RU" sz="1000" dirty="0" smtClean="0">
                <a:solidFill>
                  <a:schemeClr val="tx1"/>
                </a:solidFill>
              </a:rPr>
            </a:br>
            <a:r>
              <a:rPr lang="ru-RU" sz="1000" dirty="0" smtClean="0">
                <a:solidFill>
                  <a:schemeClr val="tx1"/>
                </a:solidFill>
              </a:rPr>
              <a:t>территории города-курорта Железноводска Ставропольского края противодействия терроризму и экстремизму, совершенствования системы муниципального  управления в кризисных ситуациях в городе курорте Железноводске Ставропольского края, совершенствование системы обеспечения безопасности населения города-курорта Железноводска Ставропольского края.</a:t>
            </a:r>
          </a:p>
          <a:p>
            <a:pPr algn="ctr">
              <a:lnSpc>
                <a:spcPts val="1000"/>
              </a:lnSpc>
            </a:pPr>
            <a:r>
              <a:rPr lang="ru-RU" sz="1000" b="1" dirty="0" smtClean="0">
                <a:solidFill>
                  <a:schemeClr val="accent5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 indent="360363" algn="just">
              <a:lnSpc>
                <a:spcPts val="12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</a:rPr>
              <a:t>Администрация города-курорта Железноводска Ставропольского края - отдел по мобилизационной подготовке и чрезвычайным ситуациям администрации города-курорта Железноводска Ставропольского края</a:t>
            </a:r>
          </a:p>
          <a:p>
            <a:pPr indent="360363" algn="just">
              <a:lnSpc>
                <a:spcPts val="1500"/>
              </a:lnSpc>
            </a:pPr>
            <a:endParaRPr lang="ru-RU" sz="1000" dirty="0" smtClean="0">
              <a:solidFill>
                <a:schemeClr val="tx1"/>
              </a:solidFill>
            </a:endParaRPr>
          </a:p>
          <a:p>
            <a:pPr indent="360363"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accent5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  <a:endParaRPr lang="ru-RU" b="1" dirty="0" smtClean="0">
              <a:solidFill>
                <a:schemeClr val="accent5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500042" y="4381496"/>
          <a:ext cx="6143646" cy="5385387"/>
        </p:xfrm>
        <a:graphic>
          <a:graphicData uri="http://schemas.openxmlformats.org/drawingml/2006/table">
            <a:tbl>
              <a:tblPr>
                <a:tableStyleId>{35758FB7-9AC5-4552-8A53-C91805E547FA}</a:tableStyleId>
              </a:tblPr>
              <a:tblGrid>
                <a:gridCol w="4143405"/>
                <a:gridCol w="571504"/>
                <a:gridCol w="421579"/>
                <a:gridCol w="302147"/>
                <a:gridCol w="302147"/>
                <a:gridCol w="402864"/>
              </a:tblGrid>
              <a:tr h="150856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змерени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0939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год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год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год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год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7713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u="none" strike="noStrike" cap="none" normalizeH="0" baseline="0" dirty="0" smtClean="0">
                        <a:ln>
                          <a:noFill/>
                        </a:ln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еспечение повышения уровня защищенности объектов и мест с массовым пребыванием граждан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 к </a:t>
                      </a:r>
                      <a:r>
                        <a:rPr kumimoji="0" lang="ru-RU" sz="8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едыд</a:t>
                      </a: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 году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0285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привлеченных из федерального и краевого бюджетов субсидий и иных межбюджетных трансфертов на 1 рубль финансирования средств бюджета города-курорта Железноводска Ставропольского края в рамках мероприятий по обеспечению безопасности города-курорта Железноводска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убль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5159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еспечение повышения уровня защищенности объектов и мест с массовым пребыванием граждан на территории города-курорта Железноводска Ставропольского кра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 к </a:t>
                      </a:r>
                      <a:r>
                        <a:rPr kumimoji="0" lang="ru-RU" sz="8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едыд</a:t>
                      </a: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 году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5142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щение информационных материалов на объектах с массовым пребыванием граждан о действиях в случае совершения актов террористической направленности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7713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снащенность системами видеонаблюдения муниципальных образовательных учреждений, объектов культурного и социально-бытового назначения и мест наибольшего нахождения граждан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9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5159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вышение уровня взаимодействия экстренных оперативных служб города через единый номер 11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 к </a:t>
                      </a:r>
                      <a:r>
                        <a:rPr kumimoji="0" lang="ru-RU" sz="8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едыд</a:t>
                      </a: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 году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5142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ведение семинаров и совещаний, круглых столов и собраний по вопросам профилактики терроризма и экстремизма с учащимися образовательных учреждений города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7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7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7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5159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нижение уровня совершенных преступлений и правонарушений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 к </a:t>
                      </a:r>
                      <a:r>
                        <a:rPr kumimoji="0" lang="ru-RU" sz="8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е-дыд</a:t>
                      </a: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 году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,9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,9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,9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,9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5142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ведение встреч и бесед с учащимися образовательных учреждений по вопросам профилактики правонарушений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4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4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4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5142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рганизация в высших учебных заведениях конкурсов по тематике профилактики правонарушений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7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7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7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5142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убликация в средствах массовой информации материалов по профилактике правонарушений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8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8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8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5142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убликация в средствах массовой информации материалов антитеррористической направленности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7713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величение численности казаков муниципальной казачьей дружины, привлекаемых для участия в оказании содействия правоохранительным органам по охране общественного порядка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4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8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8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8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257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величение количества рейдов казаков с офицерским составом полиции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257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детей, занимающихся в военно-патриотическом клубе «Русичи»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7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5142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ивлечение детей к проведению мероприятий, направленных на пропаганду казачьей истории (конкурс рисунков, конкурс на лучший реферат, конкурс на лучшее стихотворение)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7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7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7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2571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убликация в средствах массовой информации материалов посвященных казачеству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400"/>
              </a:lnSpc>
            </a:pPr>
            <a:r>
              <a:rPr lang="ru-RU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Открытость и эффективность работы администрации города-курорта Железноводска Ставропольского края»</a:t>
            </a:r>
          </a:p>
          <a:p>
            <a:pPr algn="ctr">
              <a:lnSpc>
                <a:spcPts val="1500"/>
              </a:lnSpc>
            </a:pPr>
            <a:endParaRPr lang="ru-RU" sz="1000" b="1" dirty="0" smtClean="0">
              <a:solidFill>
                <a:schemeClr val="accent5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 algn="just"/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- формирование высококвалифицированного кадрового состава муниципальной службы, обеспечивающего эффективность муниципального управления;</a:t>
            </a:r>
          </a:p>
          <a:p>
            <a:pPr algn="just"/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- реализация антикоррупционной политики, внедрение в практику администрации, ее отраслевых (функциональных) органов профилактических мер, направленных на недопущение создания условий, порождающих коррупцию; </a:t>
            </a:r>
          </a:p>
          <a:p>
            <a:pPr algn="just"/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- оптимизация и повышение качества предоставления государственных и муниципальных услуг в городе-курорте Железноводске Ставропольского края;</a:t>
            </a:r>
          </a:p>
          <a:p>
            <a:pPr algn="just">
              <a:buFontTx/>
              <a:buChar char="-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еализация права жителей города на доступ к средствам массовой информации.</a:t>
            </a:r>
          </a:p>
          <a:p>
            <a:pPr algn="just"/>
            <a:endParaRPr lang="ru-RU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000"/>
              </a:lnSpc>
            </a:pPr>
            <a:r>
              <a:rPr lang="ru-RU" sz="10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 algn="just">
              <a:buFontTx/>
              <a:buChar char="-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Администрация города-курорта Железноводска Ставропольского края, соисполнителями Программы являются: управление культуры администрации города-курорта Железноводска Ставропольского края.</a:t>
            </a:r>
          </a:p>
          <a:p>
            <a:pPr indent="360363" algn="ctr">
              <a:lnSpc>
                <a:spcPts val="1500"/>
              </a:lnSpc>
            </a:pPr>
            <a:r>
              <a:rPr lang="ru-RU" sz="10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  <a:endParaRPr lang="ru-RU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357166" y="4238620"/>
          <a:ext cx="6215113" cy="5310214"/>
        </p:xfrm>
        <a:graphic>
          <a:graphicData uri="http://schemas.openxmlformats.org/drawingml/2006/table">
            <a:tbl>
              <a:tblPr>
                <a:tableStyleId>{775DCB02-9BB8-47FD-8907-85C794F793BA}</a:tableStyleId>
              </a:tblPr>
              <a:tblGrid>
                <a:gridCol w="4432090"/>
                <a:gridCol w="487951"/>
                <a:gridCol w="323768"/>
                <a:gridCol w="323768"/>
                <a:gridCol w="323768"/>
                <a:gridCol w="323768"/>
              </a:tblGrid>
              <a:tr h="140970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       </a:t>
                      </a:r>
                      <a:r>
                        <a:rPr kumimoji="0" lang="ru-RU" sz="8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зм-ерени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7834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г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г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г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г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8362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разработанных и реализованных нормативных правовых актов города-курорта Железноводска Ставропольского края, регулирующих вопросы муниципальной службы в соответствии с законодательством Российской Федерации, законодательством Ставропольского края;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шт.</a:t>
                      </a: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17517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рганизация и прохождение муниципальными служащими администрации города-курорта Железноводска Ставропольского края, её отраслевых (функциональных) органов дополнительного профессионального образовани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8469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исло выявленных или предупрежденных коррупционных правонарушений со стороны муниципальных служащих администрации города-курорта Железноводска Ставропольского края, её отраслевых (функциональных) органов и структурных подразделений;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иниц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5668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работка и реализация нормативных правовых актов города-курорта Железноводска Ставропольского края, регулирующих вопросы противодействия коррупции на муниципальной службе в соответствии с законодательством Российской Федерации, законодательством Ставропольского края;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шт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7834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работка, изготовление и распространение печатной продукции антикоррупционного содержания;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иниц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17517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работка и реализация планов мероприятий по противодействию коррупции в отраслевых (функциональных) органах администрации города-курорта Железноводска Ставропольского края;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шт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5668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рганизация взаимодействия администрации города-курорта Железноводска Ставропольского края с организациями, общественными объединениями и населением города-курорта Железноводска Ставропольского края по вопросам противодействия коррупции (проведение «круглых столов»)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ероприятий</a:t>
                      </a: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7512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заявителей, удовлетворенных качеством государственных и муниципальных услуг, предоставляемых органами местного самоуправления города-курорта Железноводска Ставропольского края, от общего числа заявителей;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7834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заявителей, удовлетворенных качеством государственных и муниципальных услуг, предоставляемых на базе многофункционального центра, от общего числа заявителей;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6352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заявителей, использующих механизм получения государственных и муниципальных услуг в городе-курорте Железноводске Ставропольского края в электронной форме;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0049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выпущенных в эфир теле- радиопрограмм;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иниц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4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4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4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4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7834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выпусков общественно-политического еженедельника «Железноводские ведомости»;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иниц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3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3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3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3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400"/>
              </a:lnSpc>
            </a:pPr>
            <a:r>
              <a:rPr lang="ru-RU" b="1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Молодежь города-курорта Железноводска Ставропольского края»</a:t>
            </a:r>
          </a:p>
          <a:p>
            <a:pPr algn="ctr">
              <a:lnSpc>
                <a:spcPts val="1500"/>
              </a:lnSpc>
            </a:pPr>
            <a:endParaRPr lang="ru-RU" sz="1000" b="1" dirty="0" smtClean="0">
              <a:solidFill>
                <a:schemeClr val="accent5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 algn="ctr">
              <a:lnSpc>
                <a:spcPts val="1500"/>
              </a:lnSpc>
            </a:pPr>
            <a:endParaRPr lang="ru-RU" sz="1000" b="1" dirty="0" smtClean="0">
              <a:solidFill>
                <a:srgbClr val="00B050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ru-RU" sz="1000" dirty="0" smtClean="0">
                <a:solidFill>
                  <a:schemeClr val="tx1"/>
                </a:solidFill>
              </a:rPr>
              <a:t>- создание условий для поддержки и развития молодежных инициатив, гражданского, патриотического и духовно-нравственного воспитания молодежи;</a:t>
            </a:r>
          </a:p>
          <a:p>
            <a:pPr algn="just"/>
            <a:r>
              <a:rPr lang="ru-RU" sz="1000" dirty="0" smtClean="0">
                <a:solidFill>
                  <a:schemeClr val="tx1"/>
                </a:solidFill>
              </a:rPr>
              <a:t>- профилактика безнадзорности, беспризорности и предупреждение правонарушений, совершаемых несовершеннолетними;</a:t>
            </a:r>
          </a:p>
          <a:p>
            <a:pPr algn="just">
              <a:buFontTx/>
              <a:buChar char="-"/>
            </a:pPr>
            <a:r>
              <a:rPr lang="ru-RU" sz="1000" dirty="0" smtClean="0">
                <a:solidFill>
                  <a:schemeClr val="tx1"/>
                </a:solidFill>
              </a:rPr>
              <a:t>формирование у жителей города-курорта Железноводска Ставропольского края установок и норм на здоровый образ жизни, негативного отношения к вредным привычкам (курение, алкоголь, наркомания)</a:t>
            </a:r>
          </a:p>
          <a:p>
            <a:pPr algn="just">
              <a:buFontTx/>
              <a:buChar char="-"/>
            </a:pPr>
            <a:endParaRPr lang="ru-RU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000"/>
              </a:lnSpc>
            </a:pPr>
            <a:r>
              <a:rPr lang="ru-RU" sz="1000" b="1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 algn="just">
              <a:buFontTx/>
              <a:buChar char="-"/>
            </a:pPr>
            <a:r>
              <a:rPr lang="ru-RU" sz="1000" dirty="0" smtClean="0">
                <a:solidFill>
                  <a:schemeClr val="tx1"/>
                </a:solidFill>
              </a:rPr>
              <a:t>управление культуры администрация города-курорта Железноводска Ставропольского края</a:t>
            </a:r>
          </a:p>
          <a:p>
            <a:pPr algn="just"/>
            <a:endParaRPr lang="ru-RU" sz="1000" b="1" dirty="0" smtClean="0">
              <a:solidFill>
                <a:srgbClr val="00B05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000" b="1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  <a:endParaRPr lang="ru-RU" b="1" dirty="0" smtClean="0">
              <a:solidFill>
                <a:srgbClr val="00B05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285728" y="4095744"/>
          <a:ext cx="6357983" cy="5072098"/>
        </p:xfrm>
        <a:graphic>
          <a:graphicData uri="http://schemas.openxmlformats.org/drawingml/2006/table">
            <a:tbl>
              <a:tblPr>
                <a:tableStyleId>{69C7853C-536D-4A76-A0AE-DD22124D55A5}</a:tableStyleId>
              </a:tblPr>
              <a:tblGrid>
                <a:gridCol w="4117053"/>
                <a:gridCol w="625376"/>
                <a:gridCol w="416917"/>
                <a:gridCol w="364803"/>
                <a:gridCol w="416917"/>
                <a:gridCol w="416917"/>
              </a:tblGrid>
              <a:tr h="262350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иница       измерени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7532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4168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проведенных культурных мероприятий, направленных на создание условий для совершенствования досуга молодежи, профилактики потенциальных явлений в молодежной среде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</a:t>
                      </a:r>
                      <a:b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</a:b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ероприя-тий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7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9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9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9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1355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молодежи, задействованной в проведении мероприятий по реализации молодежной политики в городе-курорте Железноводске Ставропольского кра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</a:t>
                      </a:r>
                      <a:b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</a:b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5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52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52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52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4168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несовершеннолетних, стоящих на учете в комиссии по делам несовершеннолетних и защите их прав администрации города-курорта Железноводска Ставропольского кра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</a:t>
                      </a:r>
                      <a:b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</a:b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4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3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3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3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1355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несовершеннолетних, оказавшихся в трудной жизненной ситуации для предоставления адресной материальной помощи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</a:t>
                      </a:r>
                      <a:b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</a:b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3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2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2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2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8542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нижение уровня подростковой преступности на территории города-курорта Железноводска Ставропольского кра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ы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0</a:t>
                      </a: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2598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профилактических мероприятий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  <a:b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</a:b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ероприя-тий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5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7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7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7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8542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подростков и молодежи, вовлеченных в профилактические мероприяти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  <a:b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</a:b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7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8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8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8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8542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подростков и молодежи, занимающихся физической культурой и спортом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  <a:b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</a:b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13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14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14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14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4168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величение количества несовершеннолетних, добровольно прошедших тестирование на предмет немедицинского употребления наркотических веществ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ы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2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2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2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400"/>
              </a:lnSpc>
            </a:pPr>
            <a:r>
              <a:rPr lang="ru-RU" b="1" dirty="0" smtClean="0">
                <a:solidFill>
                  <a:schemeClr val="accent4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Формирование современной городской среды»</a:t>
            </a:r>
          </a:p>
          <a:p>
            <a:pPr algn="ctr">
              <a:lnSpc>
                <a:spcPts val="1500"/>
              </a:lnSpc>
            </a:pPr>
            <a:endParaRPr lang="ru-RU" sz="1000" b="1" dirty="0" smtClean="0">
              <a:solidFill>
                <a:schemeClr val="accent5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accent4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 algn="ctr">
              <a:lnSpc>
                <a:spcPts val="1500"/>
              </a:lnSpc>
            </a:pPr>
            <a:endParaRPr lang="ru-RU" sz="1000" b="1" dirty="0" smtClean="0">
              <a:solidFill>
                <a:srgbClr val="00B050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buFontTx/>
              <a:buChar char="-"/>
            </a:pPr>
            <a:r>
              <a:rPr lang="ru-RU" sz="1000" dirty="0" smtClean="0">
                <a:solidFill>
                  <a:schemeClr val="tx1"/>
                </a:solidFill>
              </a:rPr>
              <a:t>повышение уровня благоустройства нуждающихся в благоустройстве территорий города-курорта Железноводска Ставропольского края.</a:t>
            </a:r>
          </a:p>
          <a:p>
            <a:pPr algn="just"/>
            <a:endParaRPr lang="ru-RU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000"/>
              </a:lnSpc>
            </a:pPr>
            <a:r>
              <a:rPr lang="ru-RU" sz="1000" b="1" dirty="0" smtClean="0">
                <a:solidFill>
                  <a:schemeClr val="accent4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 algn="ctr">
              <a:lnSpc>
                <a:spcPts val="1000"/>
              </a:lnSpc>
            </a:pPr>
            <a:endParaRPr lang="ru-RU" sz="1000" b="1" dirty="0" smtClean="0">
              <a:solidFill>
                <a:schemeClr val="accent4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buFontTx/>
              <a:buChar char="-"/>
            </a:pPr>
            <a:r>
              <a:rPr lang="ru-RU" sz="1000" dirty="0" smtClean="0">
                <a:solidFill>
                  <a:schemeClr val="tx1"/>
                </a:solidFill>
              </a:rPr>
              <a:t>Управление городского хозяйства администрации города-курорта Железноводска Ставропольского края</a:t>
            </a:r>
          </a:p>
          <a:p>
            <a:pPr algn="just"/>
            <a:endParaRPr lang="ru-RU" sz="10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000" b="1" dirty="0" smtClean="0">
                <a:solidFill>
                  <a:schemeClr val="accent4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  <a:endParaRPr lang="ru-RU" b="1" dirty="0" smtClean="0">
              <a:solidFill>
                <a:schemeClr val="accent4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428604" y="3452802"/>
          <a:ext cx="6286556" cy="5167337"/>
        </p:xfrm>
        <a:graphic>
          <a:graphicData uri="http://schemas.openxmlformats.org/drawingml/2006/table">
            <a:tbl>
              <a:tblPr>
                <a:tableStyleId>{284E427A-3D55-4303-BF80-6455036E1DE7}</a:tableStyleId>
              </a:tblPr>
              <a:tblGrid>
                <a:gridCol w="2844971"/>
                <a:gridCol w="474162"/>
                <a:gridCol w="533432"/>
                <a:gridCol w="533432"/>
                <a:gridCol w="474162"/>
                <a:gridCol w="474162"/>
                <a:gridCol w="474162"/>
                <a:gridCol w="478073"/>
              </a:tblGrid>
              <a:tr h="172102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и-ница изме-рени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6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1224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9 г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 г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г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г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г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г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96653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Количество благоустроенных общественных территорий 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ед.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15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2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23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26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27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28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04899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Количество благоустроенных дворовых территорий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b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ед.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12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21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36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 pitchFamily="18" charset="0"/>
                          <a:cs typeface="Times New Roman" pitchFamily="18" charset="0"/>
                        </a:rPr>
                        <a:t>50</a:t>
                      </a:r>
                      <a:endParaRPr lang="ru-RU" sz="80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63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7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43918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Количество граждан, вовлеченных в реализацию </a:t>
                      </a: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мероприятий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 pitchFamily="18" charset="0"/>
                          <a:cs typeface="Times New Roman" pitchFamily="18" charset="0"/>
                        </a:rPr>
                        <a:t>чел.</a:t>
                      </a:r>
                      <a:endParaRPr lang="ru-RU" sz="80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3 94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5 25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6 55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8 75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10 92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13 11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85417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Объем привлеченных из федерального и краевого бюджетов субсидий и иных межбюджетных трансфертов на 1 рубль финансирования средств бюджета </a:t>
                      </a: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города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руб.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18,96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14667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Увеличение количества благоустроенных общественных территорий в городе-курорте Железноводске Ставропольского края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 pitchFamily="18" charset="0"/>
                          <a:cs typeface="Times New Roman" pitchFamily="18" charset="0"/>
                        </a:rPr>
                        <a:t>ед.</a:t>
                      </a:r>
                      <a:endParaRPr lang="ru-RU" sz="80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+9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+5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+3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+3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+1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+1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14667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 pitchFamily="18" charset="0"/>
                          <a:cs typeface="Times New Roman" pitchFamily="18" charset="0"/>
                        </a:rPr>
                        <a:t>Увеличение числа граждан, вовлеченных в реализацию мероприятий по благоустройству общественных территорий </a:t>
                      </a:r>
                      <a:endParaRPr lang="ru-RU" sz="80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 pitchFamily="18" charset="0"/>
                          <a:cs typeface="Times New Roman" pitchFamily="18" charset="0"/>
                        </a:rPr>
                        <a:t>чел.</a:t>
                      </a:r>
                      <a:endParaRPr lang="ru-RU" sz="80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+3 62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+4 95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+5 35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+7 35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+10 32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+</a:t>
                      </a: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12 41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46716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Увеличение количества благоустроенных общественных территорий в городе-курорте </a:t>
                      </a: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Железноводске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ед.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+2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+1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+1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14667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Увеличение числа граждан, вовлеченных в реализацию мероприятий по благоустройству общественных территорий 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 pitchFamily="18" charset="0"/>
                          <a:cs typeface="Times New Roman" pitchFamily="18" charset="0"/>
                        </a:rPr>
                        <a:t>чел.</a:t>
                      </a:r>
                      <a:endParaRPr lang="ru-RU" sz="80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+20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+80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+90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14667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Увеличение количества благоустроенных дворовых территорий в городе-курорте Железноводске Ставропольского края 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ед.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+12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+9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+15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+14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+13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+7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46716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 pitchFamily="18" charset="0"/>
                          <a:cs typeface="Times New Roman" pitchFamily="18" charset="0"/>
                        </a:rPr>
                        <a:t>Увеличение числа граждан, вовлеченных в реализацию мероприятий по благоустройству дворовых территорий</a:t>
                      </a:r>
                      <a:endParaRPr lang="ru-RU" sz="80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 pitchFamily="18" charset="0"/>
                          <a:cs typeface="Times New Roman" pitchFamily="18" charset="0"/>
                        </a:rPr>
                        <a:t>чел.</a:t>
                      </a:r>
                      <a:endParaRPr lang="ru-RU" sz="80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+12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+30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+40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+50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+60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+70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400"/>
              </a:lnSpc>
              <a:defRPr/>
            </a:pPr>
            <a:r>
              <a:rPr lang="ru-RU" dirty="0" smtClean="0">
                <a:solidFill>
                  <a:schemeClr val="accent1">
                    <a:lumMod val="75000"/>
                  </a:schemeClr>
                </a:solidFill>
              </a:rPr>
              <a:t>Муниципальная программа города-курорта Железноводска Ставропольского края «Управление финансами в городе-курорте Железноводске Ставропольского края»</a:t>
            </a:r>
            <a:endParaRPr lang="ru-RU" b="1" dirty="0" smtClean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endParaRPr lang="ru-RU" sz="1000" b="1" dirty="0" smtClean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 algn="ctr">
              <a:lnSpc>
                <a:spcPts val="1500"/>
              </a:lnSpc>
            </a:pPr>
            <a:endParaRPr lang="ru-RU" sz="1000" b="1" dirty="0" smtClean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buFontTx/>
              <a:buChar char="-"/>
            </a:pPr>
            <a:r>
              <a:rPr lang="ru-RU" sz="1000" dirty="0" smtClean="0">
                <a:solidFill>
                  <a:schemeClr val="tx1"/>
                </a:solidFill>
              </a:rPr>
              <a:t>обеспечение долгосрочной сбалансированности и устойчивости бюджета города, повышение качества управления финансами</a:t>
            </a:r>
          </a:p>
          <a:p>
            <a:pPr algn="just">
              <a:buFontTx/>
              <a:buChar char="-"/>
            </a:pPr>
            <a:r>
              <a:rPr lang="ru-RU" sz="1000" dirty="0" smtClean="0">
                <a:solidFill>
                  <a:schemeClr val="tx1"/>
                </a:solidFill>
              </a:rPr>
              <a:t> осуществление управленческой деятельности в сфере управления финансами в городе-курорте Железноводске Ставропольского края.</a:t>
            </a:r>
          </a:p>
          <a:p>
            <a:pPr algn="ctr">
              <a:lnSpc>
                <a:spcPts val="1500"/>
              </a:lnSpc>
            </a:pPr>
            <a:endParaRPr lang="ru-RU" sz="1000" b="1" dirty="0" smtClean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</a:rPr>
              <a:t>Финансовое управление администрации города-курорта Железноводска Ставропольского края </a:t>
            </a:r>
          </a:p>
          <a:p>
            <a:pPr indent="360363" algn="just">
              <a:lnSpc>
                <a:spcPts val="1500"/>
              </a:lnSpc>
            </a:pPr>
            <a:endParaRPr lang="ru-RU" sz="1000" b="1" dirty="0" smtClean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indent="360363"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  <a:endParaRPr lang="ru-RU" b="1" dirty="0" smtClean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357167" y="3738548"/>
          <a:ext cx="6215105" cy="5983945"/>
        </p:xfrm>
        <a:graphic>
          <a:graphicData uri="http://schemas.openxmlformats.org/drawingml/2006/table">
            <a:tbl>
              <a:tblPr>
                <a:tableStyleId>{69C7853C-536D-4A76-A0AE-DD22124D55A5}</a:tableStyleId>
              </a:tblPr>
              <a:tblGrid>
                <a:gridCol w="2601672"/>
                <a:gridCol w="939492"/>
                <a:gridCol w="722687"/>
                <a:gridCol w="650418"/>
                <a:gridCol w="650418"/>
                <a:gridCol w="650418"/>
              </a:tblGrid>
              <a:tr h="148338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 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 измерения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 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483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</a:t>
                      </a:r>
                      <a:r>
                        <a:rPr kumimoji="0" lang="en-US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293709">
                <a:tc>
                  <a:txBody>
                    <a:bodyPr/>
                    <a:lstStyle/>
                    <a:p>
                      <a:pPr algn="just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Темп роста налоговых и неналоговых доходов бюджета города (в сопоставимых условиях) к предыдущему году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менее 101,5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менее 102,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менее 102,5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менее 103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436113">
                <a:tc>
                  <a:txBody>
                    <a:bodyPr/>
                    <a:lstStyle/>
                    <a:p>
                      <a:pPr algn="just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Коэффициент покрытия расходов бюджета города собственными средствами без привлечения заемных средств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коэффициент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ниже 0,75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ниже 0,8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ниже 0,85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 ниже 0,9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436113">
                <a:tc>
                  <a:txBody>
                    <a:bodyPr/>
                    <a:lstStyle/>
                    <a:p>
                      <a:pPr algn="just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Снижение объема недоимки по налогам и сборам, зачисляемым в бюджет  города-курорта Железноводска Ставропольского края 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7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8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293709">
                <a:tc>
                  <a:txBody>
                    <a:bodyPr/>
                    <a:lstStyle/>
                    <a:p>
                      <a:pPr algn="just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Рейтинг города-курорта Железноводска Ставропольского края по качеству управления муниципальными финансами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баллов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75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76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77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78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293709">
                <a:tc>
                  <a:txBody>
                    <a:bodyPr/>
                    <a:lstStyle/>
                    <a:p>
                      <a:pPr algn="just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оля просроченной кредиторской задолженности в общем объеме расходов бюджета города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293709">
                <a:tc>
                  <a:txBody>
                    <a:bodyPr/>
                    <a:lstStyle/>
                    <a:p>
                      <a:pPr algn="just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Исполнение расходных обязательств города-курорта Железноводска Ставропольского края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2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3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4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5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436113">
                <a:tc>
                  <a:txBody>
                    <a:bodyPr/>
                    <a:lstStyle/>
                    <a:p>
                      <a:pPr algn="just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Средняя оценка качества финансового менеджмента, осуществляемого главными  распорядителями бюджетных средств бюджета города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баллов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65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66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67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68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436113">
                <a:tc>
                  <a:txBody>
                    <a:bodyPr/>
                    <a:lstStyle/>
                    <a:p>
                      <a:pPr algn="just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Отклонение показателей утвержденного бюджета города на очередной финансовый год от показателей бюджетного прогноза, сформированного в предшествующем периоде: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151304">
                <a:tc>
                  <a:txBody>
                    <a:bodyPr/>
                    <a:lstStyle/>
                    <a:p>
                      <a:pPr algn="just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по налоговым и неналоговым доходам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9,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8,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8,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7,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151304">
                <a:tc>
                  <a:txBody>
                    <a:bodyPr/>
                    <a:lstStyle/>
                    <a:p>
                      <a:pPr algn="just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по расходам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0,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9,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9,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8,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578517">
                <a:tc>
                  <a:txBody>
                    <a:bodyPr/>
                    <a:lstStyle/>
                    <a:p>
                      <a:pPr algn="just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Отклонение фактического объема доходов бюджета города без учета безвозмездных поступлений от параметров первоначально утвержденного бюджета города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3,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2,5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1,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0,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293709">
                <a:tc>
                  <a:txBody>
                    <a:bodyPr/>
                    <a:lstStyle/>
                    <a:p>
                      <a:pPr algn="just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Отношение недоимки по налогам, зачисляемым в бюджет города, к сумме налоговых доходов бюджета города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2,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2,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1,5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1,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720921">
                <a:tc>
                  <a:txBody>
                    <a:bodyPr/>
                    <a:lstStyle/>
                    <a:p>
                      <a:pPr algn="just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Доля налоговых и неналоговых доходов бюджета города (за исключением поступлений налоговых доходов по дополнительным нормативам отчислений) в общем объеме собственных доходов бюджета города (без учета субвенций)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65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66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68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7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436113">
                <a:tc>
                  <a:txBody>
                    <a:bodyPr/>
                    <a:lstStyle/>
                    <a:p>
                      <a:pPr algn="just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Удельный вес расходов бюджета города, формируемых в рамках муниципальных программ, в общем объеме расходов бюджета города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2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3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4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5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436113">
                <a:tc>
                  <a:txBody>
                    <a:bodyPr/>
                    <a:lstStyle/>
                    <a:p>
                      <a:pPr algn="just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Отношение объема просроченной кредиторской задолженности, сложившейся по расходам бюджета города, к общему объему расходов бюджета города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357166" y="809596"/>
          <a:ext cx="6286543" cy="8862686"/>
        </p:xfrm>
        <a:graphic>
          <a:graphicData uri="http://schemas.openxmlformats.org/drawingml/2006/table">
            <a:tbl>
              <a:tblPr>
                <a:tableStyleId>{69C7853C-536D-4A76-A0AE-DD22124D55A5}</a:tableStyleId>
              </a:tblPr>
              <a:tblGrid>
                <a:gridCol w="3429024"/>
                <a:gridCol w="714380"/>
                <a:gridCol w="500066"/>
                <a:gridCol w="571504"/>
                <a:gridCol w="571504"/>
                <a:gridCol w="500065"/>
              </a:tblGrid>
              <a:tr h="105106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 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 измерения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 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0510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</a:t>
                      </a:r>
                      <a:r>
                        <a:rPr kumimoji="0" lang="en-US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712620">
                <a:tc>
                  <a:txBody>
                    <a:bodyPr/>
                    <a:lstStyle/>
                    <a:p>
                      <a:pPr algn="just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Уровень достижения целевых значений показателей, предусмотренных в дорожной карте города-курорта Железноводска Ставропольского края, по соотношению средней заработной платы работников учреждений культуры и педагогических работников муниципальных учреждений дополнительного образования детей к средней заработной плате в Ставропольском крае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409914">
                <a:tc>
                  <a:txBody>
                    <a:bodyPr/>
                    <a:lstStyle/>
                    <a:p>
                      <a:pPr algn="just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Расходы бюджета города на содержание работников органов местного самоуправления в расчете на одного жителя муниципального образования города-курорта Железноводска Ставропольского края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рублей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194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196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192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192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409914">
                <a:tc>
                  <a:txBody>
                    <a:bodyPr/>
                    <a:lstStyle/>
                    <a:p>
                      <a:pPr algn="just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иведение параметров бюджетного прогноза города-курорта Железноводска  Ставропольского края на долгосрочный период в соответствие с решением о бюджете города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/нет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611718">
                <a:tc>
                  <a:txBody>
                    <a:bodyPr/>
                    <a:lstStyle/>
                    <a:p>
                      <a:pPr algn="just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Количество муниципальных учреждений города, функции которых по ведению  бюджетного (бухгалтерского) учета и составлению бюджетной (бухгалтерской)  отчетности передаются муниципальному бюджетному учреждению «Учетный центр» города-курорта Железноводска Ставропольского края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8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409914">
                <a:tc>
                  <a:txBody>
                    <a:bodyPr/>
                    <a:lstStyle/>
                    <a:p>
                      <a:pPr algn="just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Соотношение сумм взысканных административных штрафов и общей суммы наложенных административных  штрафов за нарушение бюджетного законодательства Российской Федерации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712620">
                <a:tc>
                  <a:txBody>
                    <a:bodyPr/>
                    <a:lstStyle/>
                    <a:p>
                      <a:pPr algn="just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Объем муниципального долга города-курорта Железноводска  Ставропольского края (далее - муниципальный долг) к общему объему доходов бюджета города без учета безвозмездных поступлений (безвозмездных поступлений и (или) поступлений налоговых доходов по дополнительным нормативам отчислений от налога на доходы физических лиц)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1,5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1,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0,5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0,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510816">
                <a:tc>
                  <a:txBody>
                    <a:bodyPr/>
                    <a:lstStyle/>
                    <a:p>
                      <a:pPr algn="just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оля расходов на обслуживание муниципального долга в общем объеме расходов бюджета города, за исключением объема расходов, которые осуществляются за счет субвенций, предоставляемых из бюджетов бюджетной системы Российской Федерации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6,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5,8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5,5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5,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914424">
                <a:tc>
                  <a:txBody>
                    <a:bodyPr/>
                    <a:lstStyle/>
                    <a:p>
                      <a:pPr algn="just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Годовая сумма платежей по погашению и обслуживанию муниципального долга, возникшего по состоянию на  1 января очередного финансового года, без учета платежей, направляемых на досрочное погашение долговых обязательств со сроками погашения после       1 января года, следующего за очередным финансовым годом, к общему объему налоговых и неналоговых доходов бюджета города и дотаций из бюджетов бюджетной системы Российской Федерации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0,8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0,6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0,3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0,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409914">
                <a:tc>
                  <a:txBody>
                    <a:bodyPr/>
                    <a:lstStyle/>
                    <a:p>
                      <a:pPr algn="just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Сохранение города-курорта Железноводска  Ставропольского края в группе муниципальных образований с высокой долговой устойчивостью по результатам оценки долговой устойчивости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/нет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409914">
                <a:tc>
                  <a:txBody>
                    <a:bodyPr/>
                    <a:lstStyle/>
                    <a:p>
                      <a:pPr algn="just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Соотношение количества проверок, по результатам которых приняты меры, и количества проверок, по результатам которых выявлены нарушения законодательства Российской Федерации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510816">
                <a:tc>
                  <a:txBody>
                    <a:bodyPr/>
                    <a:lstStyle/>
                    <a:p>
                      <a:pPr algn="just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Ежемесячное размещение на официальном сайте Думы города-курорта Железноводска Ставропольского края и администрации города-курорта Железноводска Ставропольского края в сети Интернет информации об исполнении бюджета города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/нет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1217130">
                <a:tc>
                  <a:txBody>
                    <a:bodyPr/>
                    <a:lstStyle/>
                    <a:p>
                      <a:pPr algn="just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Обеспечение отражения показателей, отраженных в информационном отчете «Бюджет для граждан», размещенном на официальном сайте Думы города-курорта Железноводска Ставропольского края и администрации города-курорта Железноводска Ставропольского края в сети Интернет, в составе показателей, определенных методическими рекомендациями по представлению бюджетов субъектов Российской Федерации и местных бюджетов и отчетов об их исполнении в доступной для граждан форме, утвержденными приказом Министерства финансов Российской Федерации от      22 сентября 2015 г. № 145н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/нет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309012">
                <a:tc>
                  <a:txBody>
                    <a:bodyPr/>
                    <a:lstStyle/>
                    <a:p>
                      <a:pPr algn="just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Уровень собираемости по земельному налогу (отношение объема поступившего земельного налога к объему начисленного земельного налога)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менее 90,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менее 92,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менее 94,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 менее 95,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409914">
                <a:tc>
                  <a:txBody>
                    <a:bodyPr/>
                    <a:lstStyle/>
                    <a:p>
                      <a:pPr algn="just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00 процентное своевременное предоставление отраслевыми (функциональными) органами администрации города-курорта Железноводска Ставропольского края отчетности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309012">
                <a:tc>
                  <a:txBody>
                    <a:bodyPr/>
                    <a:lstStyle/>
                    <a:p>
                      <a:pPr algn="just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Своевременность предоставления реестра расходных обязательств города-курорта Железноводска Ставропольского края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своевременно/несвоевременно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своевременно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своевременно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своевременно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своевременно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309012">
                <a:tc>
                  <a:txBody>
                    <a:bodyPr/>
                    <a:lstStyle/>
                    <a:p>
                      <a:pPr algn="just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Своевременность предоставления обоснований бюджетных ассигнований на очередной финансовый год и плановый период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своевременно/несвоевременно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своевременно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своевременно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своевременно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своевременно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400"/>
              </a:lnSpc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ородская адресная инвестиционная программа </a:t>
            </a:r>
          </a:p>
          <a:p>
            <a:pPr algn="ctr">
              <a:lnSpc>
                <a:spcPts val="1400"/>
              </a:lnSpc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 2022 год и плановый период 2023 и 2024 годов</a:t>
            </a:r>
          </a:p>
          <a:p>
            <a:pPr algn="ctr">
              <a:lnSpc>
                <a:spcPts val="1500"/>
              </a:lnSpc>
            </a:pPr>
            <a:endParaRPr lang="ru-RU" sz="1000" b="1" dirty="0" smtClean="0">
              <a:solidFill>
                <a:schemeClr val="accent5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0657" name="Rectangle 1"/>
          <p:cNvSpPr>
            <a:spLocks noChangeArrowheads="1"/>
          </p:cNvSpPr>
          <p:nvPr/>
        </p:nvSpPr>
        <p:spPr bwMode="auto">
          <a:xfrm>
            <a:off x="0" y="0"/>
            <a:ext cx="6858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/>
        </p:nvGraphicFramePr>
        <p:xfrm>
          <a:off x="428604" y="1523976"/>
          <a:ext cx="6178446" cy="7929618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268036"/>
                <a:gridCol w="1303600"/>
                <a:gridCol w="1170655"/>
                <a:gridCol w="615295"/>
                <a:gridCol w="428628"/>
                <a:gridCol w="597227"/>
                <a:gridCol w="474343"/>
                <a:gridCol w="602660"/>
                <a:gridCol w="718002"/>
              </a:tblGrid>
              <a:tr h="534980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№ </a:t>
                      </a:r>
                      <a:r>
                        <a:rPr kumimoji="0" lang="ru-RU" sz="8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</a:t>
                      </a: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/</a:t>
                      </a:r>
                      <a:r>
                        <a:rPr kumimoji="0" lang="ru-RU" sz="8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основного мероприятия или мероприятия, объекта капитального строительства и (или) объекта недвижимого имущества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главного распорядителя средств бюджета города-курорта Железноводска Ставропольского края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сточник финансирова-ни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бюджетных ассигнований по годам (млн. рублей)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ощность объекта капитального строительства, подлежащая (подлежащей) вводу в эксплуатацию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рок ввода в эксплуатацию объекта капитального строительства срок подготовки проектной документа -ции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24828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47682">
                <a:tc gridSpan="9">
                  <a:txBody>
                    <a:bodyPr/>
                    <a:lstStyle/>
                    <a:p>
                      <a:pPr algn="ctr"/>
                      <a:r>
                        <a:rPr kumimoji="0" lang="ru-RU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Часть первая. Программная</a:t>
                      </a:r>
                    </a:p>
                    <a:p>
                      <a:pPr algn="ctr"/>
                      <a:r>
                        <a:rPr kumimoji="0" lang="ru-RU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 </a:t>
                      </a:r>
                    </a:p>
                    <a:p>
                      <a:pPr algn="ctr"/>
                      <a:r>
                        <a:rPr kumimoji="0" lang="ru-RU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Раздел </a:t>
                      </a:r>
                      <a:r>
                        <a:rPr kumimoji="0" lang="en-US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I</a:t>
                      </a:r>
                      <a:r>
                        <a:rPr kumimoji="0" lang="ru-RU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. Бюджетные инвестиции в объекты капитального строительства муниципальной собственности города-курорта Железноводска Ставропольского края и (или) на приобретение объектов недвижимого имущества в муниципальную собственность города-курорта </a:t>
                      </a:r>
                    </a:p>
                    <a:p>
                      <a:pPr algn="ctr"/>
                      <a:r>
                        <a:rPr kumimoji="0" lang="ru-RU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Железноводска Ставропольского края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28628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одраздел </a:t>
                      </a:r>
                      <a:r>
                        <a:rPr kumimoji="0" lang="en-US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I</a:t>
                      </a:r>
                      <a:r>
                        <a:rPr kumimoji="0" lang="ru-RU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. Муниципальная программа города-курорта Железноводска Ставропольского края «Развитие образования в городе-курорте Железноводске Ставропольского края» (ответственный исполнитель – управление образования администрации города-курорта Железноводска Ставропольского края)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248285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 err="1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Cтроительство</a:t>
                      </a: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 объекта «Средняя  </a:t>
                      </a:r>
                      <a:r>
                        <a:rPr lang="ru-RU" sz="800" dirty="0" err="1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общеобразова-тельная</a:t>
                      </a: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 школа на 500 мест в жилом районе Капельница, города-курорта Железноводска, Ставропольского края»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Управление городского хозяйства </a:t>
                      </a:r>
                      <a:r>
                        <a:rPr lang="ru-RU" sz="800" dirty="0" err="1">
                          <a:latin typeface="Times New Roman"/>
                          <a:ea typeface="Times New Roman"/>
                          <a:cs typeface="Times New Roman"/>
                        </a:rPr>
                        <a:t>администра-ции</a:t>
                      </a: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  города-курорта Железноводска Ставропольского края </a:t>
                      </a:r>
                      <a:r>
                        <a:rPr lang="ru-RU" sz="800" dirty="0" smtClean="0">
                          <a:latin typeface="Times New Roman"/>
                          <a:ea typeface="Times New Roman"/>
                          <a:cs typeface="Times New Roman"/>
                        </a:rPr>
                        <a:t>(</a:t>
                      </a: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/>
                          <a:ea typeface="Times New Roman"/>
                          <a:cs typeface="Times New Roman"/>
                        </a:rPr>
                        <a:t>Бюджет города</a:t>
                      </a: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266 518 869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399 778 303,00</a:t>
                      </a: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500 мест</a:t>
                      </a: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2022 год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23413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в том числе: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бюджет города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,00 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2 665 189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3 997 783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714380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vMerge="1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vMerge="1">
                  <a:txBody>
                    <a:bodyPr/>
                    <a:lstStyle/>
                    <a:p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бюджет </a:t>
                      </a:r>
                      <a:r>
                        <a:rPr lang="ru-RU" sz="800" dirty="0" smtClean="0">
                          <a:latin typeface="Times New Roman"/>
                          <a:ea typeface="Times New Roman"/>
                          <a:cs typeface="Times New Roman"/>
                        </a:rPr>
                        <a:t>Ставропольского </a:t>
                      </a: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края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263 853 68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395 780 52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7143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Итого по подразделу </a:t>
                      </a:r>
                      <a:r>
                        <a:rPr kumimoji="0" lang="en-US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I</a:t>
                      </a:r>
                      <a:endParaRPr kumimoji="0" lang="ru-RU" sz="800" kern="1200" dirty="0" smtClean="0">
                        <a:solidFill>
                          <a:schemeClr val="dk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всего: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266 518 869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399 778 303,0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714380">
                <a:tc gridSpan="2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в том числе: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бюджет</a:t>
                      </a:r>
                    </a:p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города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2 665 189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3 997 783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714380">
                <a:tc gridSpan="2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80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smtClean="0">
                          <a:latin typeface="Times New Roman"/>
                          <a:ea typeface="Times New Roman"/>
                          <a:cs typeface="Times New Roman"/>
                        </a:rPr>
                        <a:t>бюджет Ставропольского края</a:t>
                      </a: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smtClean="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smtClean="0">
                          <a:latin typeface="Times New Roman"/>
                          <a:ea typeface="Times New Roman"/>
                          <a:cs typeface="Times New Roman"/>
                        </a:rPr>
                        <a:t>263 853 680,00</a:t>
                      </a: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smtClean="0">
                          <a:latin typeface="Times New Roman"/>
                          <a:ea typeface="Times New Roman"/>
                          <a:cs typeface="Times New Roman"/>
                        </a:rPr>
                        <a:t>395 780 520,00</a:t>
                      </a: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400"/>
              </a:lnSpc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ородская адресная инвестиционная программа </a:t>
            </a:r>
          </a:p>
          <a:p>
            <a:pPr algn="ctr">
              <a:lnSpc>
                <a:spcPts val="1400"/>
              </a:lnSpc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 2022 год и плановый период 2023 и 2024 годов</a:t>
            </a:r>
          </a:p>
          <a:p>
            <a:pPr algn="ctr">
              <a:lnSpc>
                <a:spcPts val="1500"/>
              </a:lnSpc>
            </a:pPr>
            <a:endParaRPr lang="ru-RU" sz="1000" b="1" dirty="0" smtClean="0">
              <a:solidFill>
                <a:schemeClr val="accent5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0657" name="Rectangle 1"/>
          <p:cNvSpPr>
            <a:spLocks noChangeArrowheads="1"/>
          </p:cNvSpPr>
          <p:nvPr/>
        </p:nvSpPr>
        <p:spPr bwMode="auto">
          <a:xfrm>
            <a:off x="0" y="0"/>
            <a:ext cx="6858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/>
        </p:nvGraphicFramePr>
        <p:xfrm>
          <a:off x="428604" y="1523977"/>
          <a:ext cx="6215106" cy="8362058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269626"/>
                <a:gridCol w="1311335"/>
                <a:gridCol w="1177601"/>
                <a:gridCol w="618946"/>
                <a:gridCol w="431171"/>
                <a:gridCol w="600771"/>
                <a:gridCol w="477158"/>
                <a:gridCol w="606236"/>
                <a:gridCol w="722262"/>
              </a:tblGrid>
              <a:tr h="500448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№ </a:t>
                      </a:r>
                      <a:r>
                        <a:rPr kumimoji="0" lang="ru-RU" sz="8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</a:t>
                      </a: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/</a:t>
                      </a:r>
                      <a:r>
                        <a:rPr kumimoji="0" lang="ru-RU" sz="8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основного мероприятия или мероприятия, объекта капитального строительства и (или) объекта недвижимого имущества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главного распорядителя средств бюджета города-курорта Железноводска Ставропольского края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сточник финансирова-ни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бюджетных ассигнований по года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млн. рублей)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ощность объекта капитального строительства, подлежащая (подлежащей) вводу в эксплуатацию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рок ввода в эксплуатацию объекта капитального строительства срок подготовки проектной документа -ции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26507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617933">
                <a:tc gridSpan="9">
                  <a:txBody>
                    <a:bodyPr/>
                    <a:lstStyle/>
                    <a:p>
                      <a:pPr algn="ctr"/>
                      <a:endParaRPr kumimoji="0" lang="ru-RU" sz="800" kern="1200" dirty="0" smtClean="0">
                        <a:solidFill>
                          <a:schemeClr val="dk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kumimoji="0" lang="ru-RU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одраздел </a:t>
                      </a:r>
                      <a:r>
                        <a:rPr kumimoji="0" lang="en-US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II</a:t>
                      </a:r>
                      <a:r>
                        <a:rPr kumimoji="0" lang="ru-RU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. Муниципальная программа города-курорта Железноводска Ставропольского края «Развитие жилищно-коммунального хозяйства в городе-курорте Железноводске Ставропольского края» (ответственный исполнитель – Управление городского хозяйства администрации города-курорта Железноводска Ставропольского края)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85824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Приобретение благоустроен-ного жилого помещения в муниципальную собственность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администрация города-курорта     Железновод-ска Ставропольского края - код 601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бюджет</a:t>
                      </a:r>
                    </a:p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 города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/>
                          <a:ea typeface="Times New Roman"/>
                          <a:cs typeface="Times New Roman"/>
                        </a:rPr>
                        <a:t>1 60 </a:t>
                      </a: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 квартира</a:t>
                      </a:r>
                      <a:endParaRPr lang="ru-RU" sz="8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2022 год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98726">
                <a:tc gridSpan="2">
                  <a:txBody>
                    <a:bodyPr/>
                    <a:lstStyle/>
                    <a:p>
                      <a:r>
                        <a:rPr kumimoji="0" lang="ru-RU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Итого по подразделу </a:t>
                      </a:r>
                      <a:r>
                        <a:rPr kumimoji="0" lang="en-US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II</a:t>
                      </a:r>
                      <a:endParaRPr kumimoji="0" lang="ru-RU" sz="800" kern="1200" dirty="0" smtClean="0">
                        <a:solidFill>
                          <a:schemeClr val="dk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всего: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1 </a:t>
                      </a:r>
                      <a:r>
                        <a:rPr lang="ru-RU" sz="800" dirty="0" smtClean="0">
                          <a:latin typeface="Times New Roman"/>
                          <a:ea typeface="Times New Roman"/>
                          <a:cs typeface="Times New Roman"/>
                        </a:rPr>
                        <a:t>60 </a:t>
                      </a: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43296">
                <a:tc gridSpan="2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в том числе: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бюджет</a:t>
                      </a:r>
                    </a:p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города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/>
                          <a:ea typeface="Times New Roman"/>
                          <a:cs typeface="Times New Roman"/>
                        </a:rPr>
                        <a:t>1 60 </a:t>
                      </a: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13029">
                <a:tc gridSpan="9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одраздел </a:t>
                      </a:r>
                      <a:r>
                        <a:rPr kumimoji="0" lang="en-US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III</a:t>
                      </a:r>
                      <a:r>
                        <a:rPr kumimoji="0" lang="ru-RU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. Муниципальная программа города-курорта Железноводска Ставропольского края «Развитие транспортной системы и охрана окружающей среды в городе-курорте Железноводске Ставропольского края» (ответственный исполнитель – Управление городского хозяйства администрации города-курорта Железноводска Ставропольского края)</a:t>
                      </a:r>
                    </a:p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201537"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3.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Расходы на строительство (реконструкцию, </a:t>
                      </a:r>
                      <a:r>
                        <a:rPr lang="ru-RU" sz="800" dirty="0" err="1">
                          <a:latin typeface="Times New Roman"/>
                          <a:ea typeface="Times New Roman"/>
                          <a:cs typeface="Times New Roman"/>
                        </a:rPr>
                        <a:t>техничес-кое</a:t>
                      </a: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 перевооружение) дорожных объектов муниципальной </a:t>
                      </a:r>
                      <a:r>
                        <a:rPr lang="ru-RU" sz="800" dirty="0" err="1">
                          <a:latin typeface="Times New Roman"/>
                          <a:ea typeface="Times New Roman"/>
                          <a:cs typeface="Times New Roman"/>
                        </a:rPr>
                        <a:t>собствен-ности</a:t>
                      </a: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 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Управление городского хозяйства - код 62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бюджет</a:t>
                      </a:r>
                    </a:p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города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3 остановоч-ных пункта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2024 год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46528">
                <a:tc gridSpan="2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в том числе: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всего: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68267">
                <a:tc gridSpan="2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Итого по части первой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 sz="80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бюджет</a:t>
                      </a:r>
                    </a:p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города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43296">
                <a:tc gridSpan="2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в том числе: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8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/>
                          <a:ea typeface="Times New Roman"/>
                          <a:cs typeface="Times New Roman"/>
                        </a:rPr>
                        <a:t>1,60 </a:t>
                      </a: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/>
                          <a:ea typeface="Times New Roman"/>
                          <a:cs typeface="Times New Roman"/>
                        </a:rPr>
                        <a:t>266,5 </a:t>
                      </a: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399,8</a:t>
                      </a: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00961">
                <a:tc gridSpan="2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бюджет </a:t>
                      </a:r>
                    </a:p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города 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1 600 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/>
                          <a:ea typeface="Times New Roman"/>
                          <a:cs typeface="Times New Roman"/>
                        </a:rPr>
                        <a:t>2, 7</a:t>
                      </a: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/>
                          <a:ea typeface="Times New Roman"/>
                          <a:cs typeface="Times New Roman"/>
                        </a:rPr>
                        <a:t>4,0</a:t>
                      </a: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86593">
                <a:tc gridSpan="2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бюджет Ставрополь-ского края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/>
                          <a:ea typeface="Times New Roman"/>
                          <a:cs typeface="Times New Roman"/>
                        </a:rPr>
                        <a:t>263, 8</a:t>
                      </a: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/>
                          <a:ea typeface="Times New Roman"/>
                          <a:cs typeface="Times New Roman"/>
                        </a:rPr>
                        <a:t>395,</a:t>
                      </a: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 </a:t>
                      </a:r>
                      <a:r>
                        <a:rPr lang="ru-RU" sz="800" dirty="0" smtClean="0">
                          <a:latin typeface="Times New Roman"/>
                          <a:ea typeface="Times New Roman"/>
                          <a:cs typeface="Times New Roman"/>
                        </a:rPr>
                        <a:t>8</a:t>
                      </a: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428604" y="309530"/>
            <a:ext cx="6215106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400"/>
              </a:lnSpc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ородская адресная инвестиционная программа </a:t>
            </a:r>
          </a:p>
          <a:p>
            <a:pPr algn="ctr">
              <a:lnSpc>
                <a:spcPts val="1400"/>
              </a:lnSpc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 2022 год и плановый период 2023 и 2024 годов</a:t>
            </a:r>
          </a:p>
          <a:p>
            <a:pPr algn="ctr">
              <a:lnSpc>
                <a:spcPts val="1500"/>
              </a:lnSpc>
            </a:pPr>
            <a:endParaRPr lang="ru-RU" sz="1000" b="1" dirty="0" smtClean="0">
              <a:solidFill>
                <a:schemeClr val="accent5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0657" name="Rectangle 1"/>
          <p:cNvSpPr>
            <a:spLocks noChangeArrowheads="1"/>
          </p:cNvSpPr>
          <p:nvPr/>
        </p:nvSpPr>
        <p:spPr bwMode="auto">
          <a:xfrm>
            <a:off x="0" y="0"/>
            <a:ext cx="6858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/>
        </p:nvGraphicFramePr>
        <p:xfrm>
          <a:off x="428604" y="1523977"/>
          <a:ext cx="6215106" cy="5107373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269626"/>
                <a:gridCol w="1311335"/>
                <a:gridCol w="204989"/>
                <a:gridCol w="972612"/>
                <a:gridCol w="618946"/>
                <a:gridCol w="431171"/>
                <a:gridCol w="600771"/>
                <a:gridCol w="477158"/>
                <a:gridCol w="606236"/>
                <a:gridCol w="722262"/>
              </a:tblGrid>
              <a:tr h="500448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№ </a:t>
                      </a:r>
                      <a:r>
                        <a:rPr kumimoji="0" lang="ru-RU" sz="8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</a:t>
                      </a: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/</a:t>
                      </a:r>
                      <a:r>
                        <a:rPr kumimoji="0" lang="ru-RU" sz="8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основного мероприятия или мероприятия, объекта капитального строительства и (или) объекта недвижимого имущества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главного распорядителя средств бюджета города-курорта Железноводска Ставропольского края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сточник финансирова-ни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бюджетных ассигнований по годам (млн. рублей)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ощность объекта капитального строительства, подлежащая (подлежащей) вводу в эксплуатацию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рок ввода в эксплуатацию объекта капитального строительства срок подготовки проектной документа -ции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26507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42901">
                <a:tc gridSpan="10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Часть вторая. </a:t>
                      </a:r>
                      <a:r>
                        <a:rPr kumimoji="0" lang="ru-RU" sz="800" kern="1200" dirty="0" err="1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Непрограммная</a:t>
                      </a:r>
                      <a:endParaRPr kumimoji="0" lang="ru-RU" sz="800" kern="1200" dirty="0" smtClean="0">
                        <a:solidFill>
                          <a:schemeClr val="dk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858241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Мероприятия    отсутствуют</a:t>
                      </a: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37182">
                <a:tc gridSpan="3">
                  <a:txBody>
                    <a:bodyPr/>
                    <a:lstStyle/>
                    <a:p>
                      <a:r>
                        <a:rPr kumimoji="0" lang="ru-RU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Итого по части второ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43296"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39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Всего по городской адресной инвестиционной программе:</a:t>
                      </a:r>
                    </a:p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8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/>
                          <a:ea typeface="Times New Roman"/>
                          <a:cs typeface="Times New Roman"/>
                        </a:rPr>
                        <a:t>1 60 </a:t>
                      </a: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/>
                          <a:ea typeface="Times New Roman"/>
                          <a:cs typeface="Times New Roman"/>
                        </a:rPr>
                        <a:t>266,5 </a:t>
                      </a: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399,8</a:t>
                      </a: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8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33750">
                <a:tc gridSpan="3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Times New Roman"/>
                          <a:cs typeface="Times New Roman"/>
                        </a:rPr>
                        <a:t>в том числе:</a:t>
                      </a: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бюджет</a:t>
                      </a:r>
                    </a:p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города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/>
                          <a:ea typeface="Times New Roman"/>
                          <a:cs typeface="Times New Roman"/>
                        </a:rPr>
                        <a:t>1 60 </a:t>
                      </a: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/>
                          <a:ea typeface="Times New Roman"/>
                          <a:cs typeface="Times New Roman"/>
                        </a:rPr>
                        <a:t>2, 7</a:t>
                      </a: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/>
                          <a:ea typeface="Times New Roman"/>
                          <a:cs typeface="Times New Roman"/>
                        </a:rPr>
                        <a:t>4,0</a:t>
                      </a: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42942">
                <a:tc gridSpan="3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бюджет Ставрополь-ского края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/>
                          <a:ea typeface="Times New Roman"/>
                          <a:cs typeface="Times New Roman"/>
                        </a:rPr>
                        <a:t>263, 8</a:t>
                      </a: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/>
                          <a:ea typeface="Times New Roman"/>
                          <a:cs typeface="Times New Roman"/>
                        </a:rPr>
                        <a:t>395,</a:t>
                      </a: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 </a:t>
                      </a:r>
                      <a:r>
                        <a:rPr lang="ru-RU" sz="800" dirty="0" smtClean="0">
                          <a:latin typeface="Times New Roman"/>
                          <a:ea typeface="Times New Roman"/>
                          <a:cs typeface="Times New Roman"/>
                        </a:rPr>
                        <a:t>8</a:t>
                      </a: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1"/>
            <a:ext cx="6858000" cy="9916552"/>
          </a:xfrm>
          <a:prstGeom prst="rect">
            <a:avLst/>
          </a:prstGeom>
          <a:noFill/>
        </p:spPr>
      </p:pic>
      <p:sp>
        <p:nvSpPr>
          <p:cNvPr id="25607" name="Text Box 7"/>
          <p:cNvSpPr txBox="1">
            <a:spLocks noChangeArrowheads="1"/>
          </p:cNvSpPr>
          <p:nvPr/>
        </p:nvSpPr>
        <p:spPr bwMode="auto">
          <a:xfrm>
            <a:off x="5732876" y="2476483"/>
            <a:ext cx="1243354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/>
              <a:t>млн.рублей</a:t>
            </a:r>
          </a:p>
        </p:txBody>
      </p:sp>
      <p:pic>
        <p:nvPicPr>
          <p:cNvPr id="10" name="Picture 6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 rot="11809208">
            <a:off x="2496163" y="2442806"/>
            <a:ext cx="3945442" cy="22408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scene3d>
            <a:camera prst="orthographicFront">
              <a:rot lat="0" lon="10800000" rev="0"/>
            </a:camera>
            <a:lightRig rig="threePt" dir="t"/>
          </a:scene3d>
        </p:spPr>
      </p:pic>
      <p:sp>
        <p:nvSpPr>
          <p:cNvPr id="11" name="AutoShape 2"/>
          <p:cNvSpPr>
            <a:spLocks noChangeArrowheads="1"/>
          </p:cNvSpPr>
          <p:nvPr/>
        </p:nvSpPr>
        <p:spPr bwMode="auto">
          <a:xfrm>
            <a:off x="1071546" y="206342"/>
            <a:ext cx="5411429" cy="1444635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</a:rPr>
              <a:t>Уровень долговой нагрузки на бюджет </a:t>
            </a:r>
          </a:p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</a:rPr>
              <a:t>города-курорта Железноводска Ставропольского края</a:t>
            </a:r>
            <a:endParaRPr lang="ru-RU" dirty="0" smtClean="0">
              <a:solidFill>
                <a:schemeClr val="bg1"/>
              </a:solidFill>
            </a:endParaRPr>
          </a:p>
          <a:p>
            <a:pPr algn="ctr">
              <a:defRPr/>
            </a:pP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107133" y="7223141"/>
            <a:ext cx="6643734" cy="2476517"/>
          </a:xfrm>
          <a:prstGeom prst="roundRect">
            <a:avLst/>
          </a:prstGeom>
          <a:solidFill>
            <a:schemeClr val="accent1">
              <a:alpha val="62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 2023 году планируется погашение банковского кредита в сумме в сумме 12,1 млн. рублей</a:t>
            </a:r>
          </a:p>
          <a:p>
            <a:pPr algn="just"/>
            <a:r>
              <a:rPr lang="x-none" sz="160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 состоянию на 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01.01.2023 г.</a:t>
            </a:r>
            <a:r>
              <a:rPr lang="x-none" sz="160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 на 01.01.2024 г. </a:t>
            </a:r>
            <a:r>
              <a:rPr lang="x-none" sz="160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задолженност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ь</a:t>
            </a:r>
            <a:r>
              <a:rPr lang="x-none" sz="160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бюджета города-курорта Железноводска Ставропольского края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по муниципальному внутреннему долгу отсутствует.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6" name="Содержимое 15"/>
          <p:cNvGraphicFramePr>
            <a:graphicFrameLocks noGrp="1"/>
          </p:cNvGraphicFramePr>
          <p:nvPr>
            <p:ph/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418681561"/>
              </p:ext>
            </p:extLst>
          </p:nvPr>
        </p:nvGraphicFramePr>
        <p:xfrm>
          <a:off x="188640" y="1832654"/>
          <a:ext cx="6375842" cy="57785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500042" y="0"/>
            <a:ext cx="6357958" cy="9525032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ставление проекта бюджета города-курорта Железноводска Ставропольского края основывается на:</a:t>
            </a:r>
          </a:p>
          <a:p>
            <a:pPr algn="ctr" eaLnBrk="1" hangingPunct="1">
              <a:defRPr/>
            </a:pPr>
            <a:endParaRPr lang="ru-RU" sz="2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 eaLnBrk="1" hangingPunct="1">
              <a:buFont typeface="Wingdings" pitchFamily="2" charset="2"/>
              <a:buChar char="v"/>
              <a:defRPr/>
            </a:pP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ложениях послания Президента Российской Федерации Федеральному собранию РФ, определяющих бюджетную политику в Российской федерации;</a:t>
            </a:r>
          </a:p>
          <a:p>
            <a:pPr indent="444500" algn="just" eaLnBrk="1" hangingPunct="1">
              <a:buFont typeface="Wingdings" pitchFamily="2" charset="2"/>
              <a:buChar char="v"/>
              <a:defRPr/>
            </a:pP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гнозе социально-экономического развития города-курорта Железноводска Ставропольского края;</a:t>
            </a:r>
          </a:p>
          <a:p>
            <a:pPr indent="444500" algn="just" eaLnBrk="1" hangingPunct="1">
              <a:buFont typeface="Wingdings" pitchFamily="2" charset="2"/>
              <a:buChar char="v"/>
              <a:defRPr/>
            </a:pP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х направлениях бюджетной и налоговой политики города-курорта Железноводска Ставропольского края;</a:t>
            </a:r>
          </a:p>
          <a:p>
            <a:pPr indent="444500" algn="just" eaLnBrk="1" hangingPunct="1">
              <a:buFont typeface="Wingdings" pitchFamily="2" charset="2"/>
              <a:buChar char="v"/>
              <a:defRPr/>
            </a:pP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униципальных программах города-курорта Железноводска Ставропольского края.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8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/>
            <a:r>
              <a:rPr lang="ru-RU" sz="2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убличные слушания</a:t>
            </a:r>
          </a:p>
          <a:p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/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поряжением администрации города-курорта Железноводска Ставропольского края от 16 ноября 2021 года № 231-р «О публичных слушаниях по проекту решения Думы города-курорта Железноводска Ставропольского края «О бюджете города-курорта Железноводска Ставропольского края на 2022 год и плановый период 2023 и 2024 годов» были назначены и состоялись </a:t>
            </a: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06 декабря 2021 года 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убличные слушания         (в заочной форме) по проекту решения Думы города-курорта Железноводска Ставропольского края «О бюджете города-курорта Железноводска Ставропольского края на 2022 год и плановый период 2023 и 2024 годов». </a:t>
            </a:r>
          </a:p>
          <a:p>
            <a:pPr algn="just"/>
            <a:endParaRPr lang="ru-RU" sz="16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sz="16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sz="16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Заключение по результатам публичных слушаний по проекту решения Думы города-курорта Железноводска Ставропольского края от    № «О бюджете города-курорта Железноводска Ставропольского края на 2022 год и плановый период 2023 и 2024 годов» размещено на официальном сайте Думы и Администрации города-курорта Железноводска Ставропольского края и опубликовано в приложении к общественно-политическому еженедельнику «</a:t>
            </a:r>
            <a:r>
              <a:rPr lang="ru-RU" sz="16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Железноводские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ведомости» от 08 декабря 2021 года № 49 (1138).</a:t>
            </a:r>
          </a:p>
          <a:p>
            <a:pPr algn="just"/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/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500042" y="0"/>
            <a:ext cx="6357958" cy="9525032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показатели социально-экономического развития города-курорта Железноводска Ставропольского края в соответствии с прогнозом социально-экономического развития города-курорта Железноводска Ставропольского края</a:t>
            </a:r>
            <a:endParaRPr lang="ru-RU" sz="18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9</a:t>
            </a:fld>
            <a:endParaRPr lang="ru-RU" dirty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500042" y="2666984"/>
          <a:ext cx="6072230" cy="6572296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460410"/>
                <a:gridCol w="845500"/>
                <a:gridCol w="768637"/>
                <a:gridCol w="768637"/>
                <a:gridCol w="691773"/>
                <a:gridCol w="691773"/>
                <a:gridCol w="845500"/>
              </a:tblGrid>
              <a:tr h="547994">
                <a:tc rowSpan="2">
                  <a:txBody>
                    <a:bodyPr/>
                    <a:lstStyle/>
                    <a:p>
                      <a:pPr marL="0" marR="0" lvl="0" indent="80963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казатель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тчет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9 год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тчет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 год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гноз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год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гноз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0924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/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год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год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год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>
                    <a:solidFill>
                      <a:schemeClr val="accent3"/>
                    </a:solidFill>
                  </a:tcPr>
                </a:tc>
              </a:tr>
              <a:tr h="54799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селение, тыс. чел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3,31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3,92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4,10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4,40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5,15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5,65</a:t>
                      </a:r>
                    </a:p>
                  </a:txBody>
                  <a:tcPr marL="68580" marR="68580" marT="0" marB="0" anchor="ctr" horzOverflow="overflow"/>
                </a:tc>
              </a:tr>
              <a:tr h="10134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нвестиции в основной капитал, млн. руб.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99,00</a:t>
                      </a: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498,98</a:t>
                      </a: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501,00</a:t>
                      </a: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642,44</a:t>
                      </a: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826,75</a:t>
                      </a: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099,21</a:t>
                      </a:r>
                    </a:p>
                  </a:txBody>
                  <a:tcPr marL="60158" marR="60158" marT="0" marB="0" anchor="ctr" horzOverflow="overflow"/>
                </a:tc>
              </a:tr>
              <a:tr h="10134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ндекс физического объема инвестиций в основной капитал, %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5,11</a:t>
                      </a: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7,27</a:t>
                      </a: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2,80</a:t>
                      </a: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2,94</a:t>
                      </a: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3,93</a:t>
                      </a: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5,69</a:t>
                      </a:r>
                    </a:p>
                  </a:txBody>
                  <a:tcPr marL="60158" marR="60158" marT="0" marB="0" anchor="ctr" horzOverflow="overflow"/>
                </a:tc>
              </a:tr>
              <a:tr h="67560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Фонд заработной платы, млн. руб.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589,00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447,20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561,60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642,00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738,00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859,00</a:t>
                      </a:r>
                    </a:p>
                  </a:txBody>
                  <a:tcPr marL="68580" marR="68580" marT="0" marB="0" anchor="ctr" horzOverflow="overflow"/>
                </a:tc>
              </a:tr>
              <a:tr h="67560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ровень безработицы, %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40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,5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5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4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3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0</a:t>
                      </a:r>
                    </a:p>
                  </a:txBody>
                  <a:tcPr marL="68580" marR="68580" marT="0" marB="0" anchor="ctr" horzOverflow="overflow"/>
                </a:tc>
              </a:tr>
              <a:tr h="67560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реднемесячная заработная плата, руб.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 907,00</a:t>
                      </a: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2053,00</a:t>
                      </a: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4516,89</a:t>
                      </a: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7258,02</a:t>
                      </a: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9095,17</a:t>
                      </a: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1398,99</a:t>
                      </a:r>
                    </a:p>
                  </a:txBody>
                  <a:tcPr marL="60158" marR="60158" marT="0" marB="0" anchor="ctr" horzOverflow="overflow"/>
                </a:tc>
              </a:tr>
              <a:tr h="10134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вод в действие жилых домов, тыс. кв. м в общей площади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4,00</a:t>
                      </a: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,68</a:t>
                      </a: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3,72</a:t>
                      </a: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7,60</a:t>
                      </a: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1,48</a:t>
                      </a: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1,50</a:t>
                      </a:r>
                    </a:p>
                  </a:txBody>
                  <a:tcPr marL="60158" marR="60158" marT="0" marB="0" anchor="ctr" horzOverflow="overflow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4q8xmmXkuXDu3vVnzB3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KvAPOzfkuau5um0iUnu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YqihVo00GmxSSRELyug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4q8xmmXkuXDu3vVnzB3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KvAPOzfkuau5um0iUnu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RfMevFAk2Iu7NMBA7h_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3vbI7zzaU2kzYqlxBxGx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DHmp4.Q0S5C_AvqH0pT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bmFd6ls0CAMwK31nl05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jBCpxYYUmsj5qq0vfqK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bo6DY8lkSmDE03Gayqi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0ydx.d6kuBSHj4BQzHd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kFJKF6FkiiBjC.x_Hsn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WOKYEOr0.PAvG4kZId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IVQmUag0SpL4VOseeUw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H3yAHztEeX9wW.5YKPa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H3yAHztEeX9wW.5YKPa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bmFd6ls0CAMwK31nl05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bo6DY8lkSmDE03Gayqi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bp6iLoaEareIU_fKaKa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0ydx.d6kuBSHj4BQzHd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kFJKF6FkiiBjC.x_Hsn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WOKYEOr0.PAvG4kZIdD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bmFd6ls0CAMwK31nl05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bo6DY8lkSmDE03Gayqi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WOKYEOr0.PAvG4kZIdD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WOKYEOr0.PAvG4kZIdD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WOKYEOr0.PAvG4kZIdD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WOKYEOr0.PAvG4kZIdD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jBCpxYYUmsj5qq0vfqK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WOKYEOr0.PAvG4kZIdD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WOKYEOr0.PAvG4kZIdD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WOKYEOr0.PAvG4kZIdD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qop4Apf0yIM68gn_Zjv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geyQOBXUyDbmhAgJ1BK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qop4Apf0yIM68gn_Zjv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geyQOBXUyDbmhAgJ1BK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WOKYEOr0.PAvG4kZIdD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WOKYEOr0.PAvG4kZIdD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E5kHx1XUWUzoWLelWVi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bp6iLoaEareIU_fKaKa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KvAPOzfkuau5um0iUnu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YqihVo00GmxSSRELyug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bp6iLoaEareIU_fKaKa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KvAPOzfkuau5um0iUnu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RXpvIIsEaq.Tkq7jWx7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ddr43wykCMw7G6ia9yp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Поток">
  <a:themeElements>
    <a:clrScheme name="Бумажная">
      <a:dk1>
        <a:sysClr val="windowText" lastClr="000000"/>
      </a:dk1>
      <a:lt1>
        <a:sysClr val="window" lastClr="FFFFFF"/>
      </a:lt1>
      <a:dk2>
        <a:srgbClr val="444D26"/>
      </a:dk2>
      <a:lt2>
        <a:srgbClr val="FEFAC9"/>
      </a:lt2>
      <a:accent1>
        <a:srgbClr val="A5B592"/>
      </a:accent1>
      <a:accent2>
        <a:srgbClr val="F3A447"/>
      </a:accent2>
      <a:accent3>
        <a:srgbClr val="E7BC29"/>
      </a:accent3>
      <a:accent4>
        <a:srgbClr val="D092A7"/>
      </a:accent4>
      <a:accent5>
        <a:srgbClr val="9C85C0"/>
      </a:accent5>
      <a:accent6>
        <a:srgbClr val="809EC2"/>
      </a:accent6>
      <a:hlink>
        <a:srgbClr val="8E58B6"/>
      </a:hlink>
      <a:folHlink>
        <a:srgbClr val="7F6F6F"/>
      </a:folHlink>
    </a:clrScheme>
    <a:fontScheme name="Поток">
      <a:majorFont>
        <a:latin typeface="Calibri"/>
        <a:ea typeface=""/>
        <a:cs typeface=""/>
        <a:font script="Jpan" typeface="ＭＳ Ｐゴシック"/>
        <a:font script="Hang" typeface="HY중고딕"/>
        <a:font script="Hans" typeface="隶书"/>
        <a:font script="Hant" typeface="微軟正黑體"/>
        <a:font script="Arab" typeface="Traditional Arabic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Constantia"/>
        <a:ea typeface=""/>
        <a:cs typeface=""/>
        <a:font script="Jpan" typeface="HGP明朝E"/>
        <a:font script="Hang" typeface="HY신명조"/>
        <a:font script="Hans" typeface="宋体"/>
        <a:font script="Hant" typeface="新細明體"/>
        <a:font script="Arab" typeface="Majalla UI"/>
        <a:font script="Hebr" typeface="David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Поток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30000"/>
              </a:schemeClr>
            </a:gs>
            <a:gs pos="43000">
              <a:schemeClr val="phClr">
                <a:tint val="44000"/>
                <a:satMod val="165000"/>
              </a:schemeClr>
            </a:gs>
            <a:gs pos="93000">
              <a:schemeClr val="phClr">
                <a:tint val="15000"/>
                <a:satMod val="165000"/>
              </a:schemeClr>
            </a:gs>
            <a:gs pos="100000">
              <a:schemeClr val="phClr">
                <a:tint val="5000"/>
                <a:satMod val="250000"/>
              </a:schemeClr>
            </a:gs>
          </a:gsLst>
          <a:path path="circle">
            <a:fillToRect l="50000" t="130000" r="50000" b="-30000"/>
          </a:path>
        </a:gradFill>
        <a:gradFill rotWithShape="1">
          <a:gsLst>
            <a:gs pos="0">
              <a:schemeClr val="phClr">
                <a:tint val="98000"/>
                <a:shade val="25000"/>
                <a:satMod val="250000"/>
              </a:schemeClr>
            </a:gs>
            <a:gs pos="68000">
              <a:schemeClr val="phClr">
                <a:tint val="86000"/>
                <a:satMod val="115000"/>
              </a:schemeClr>
            </a:gs>
            <a:gs pos="100000">
              <a:schemeClr val="phClr">
                <a:tint val="50000"/>
                <a:satMod val="150000"/>
              </a:schemeClr>
            </a:gs>
          </a:gsLst>
          <a:path path="circle">
            <a:fillToRect l="50000" t="130000" r="50000" b="-30000"/>
          </a:path>
        </a:gradFill>
      </a:fillStyleLst>
      <a:lnStyleLst>
        <a:ln w="9525" cap="flat" cmpd="sng" algn="ctr">
          <a:solidFill>
            <a:schemeClr val="phClr">
              <a:shade val="50000"/>
              <a:satMod val="103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  <a:scene3d>
            <a:camera prst="orthographicFront" fov="0">
              <a:rot lat="0" lon="0" rev="0"/>
            </a:camera>
            <a:lightRig rig="glow" dir="tl">
              <a:rot lat="0" lon="0" rev="900000"/>
            </a:lightRig>
          </a:scene3d>
          <a:sp3d prstMaterial="powder">
            <a:bevelT w="25400" h="381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400000"/>
              </a:schemeClr>
            </a:gs>
            <a:gs pos="25000">
              <a:schemeClr val="phClr">
                <a:tint val="83000"/>
                <a:satMod val="320000"/>
              </a:schemeClr>
            </a:gs>
            <a:gs pos="100000">
              <a:schemeClr val="phClr">
                <a:shade val="15000"/>
                <a:satMod val="320000"/>
              </a:schemeClr>
            </a:gs>
          </a:gsLst>
          <a:path path="circle">
            <a:fillToRect l="10000" t="110000" r="1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0"/>
                <a:satMod val="150000"/>
              </a:schemeClr>
              <a:schemeClr val="phClr">
                <a:tint val="88000"/>
                <a:satMod val="150000"/>
              </a:schemeClr>
            </a:duotone>
          </a:blip>
          <a:tile tx="0" ty="0" sx="65000" sy="65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low</Template>
  <TotalTime>29532</TotalTime>
  <Words>11054</Words>
  <Application>Microsoft Office PowerPoint</Application>
  <PresentationFormat>Лист A4 (210x297 мм)</PresentationFormat>
  <Paragraphs>3410</Paragraphs>
  <Slides>80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0</vt:i4>
      </vt:variant>
    </vt:vector>
  </HeadingPairs>
  <TitlesOfParts>
    <vt:vector size="82" baseType="lpstr">
      <vt:lpstr>Поток</vt:lpstr>
      <vt:lpstr>Worksheet</vt:lpstr>
      <vt:lpstr>БЮДЖЕТ ДЛЯ ГРАЖДАН   по проекту решения Думы города-курорта Железноводска Ставропольского края  «О бюджете города-курорта Железноводска Ставропольского края  на 2022 год и плановый период 2023-2024 годов» 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  <vt:lpstr>Слайд 15</vt:lpstr>
      <vt:lpstr>Слайд 16</vt:lpstr>
      <vt:lpstr>Слайд 17</vt:lpstr>
      <vt:lpstr>Слайд 18</vt:lpstr>
      <vt:lpstr>Слайд 19</vt:lpstr>
      <vt:lpstr>Слайд 20</vt:lpstr>
      <vt:lpstr>Слайд 21</vt:lpstr>
      <vt:lpstr>Слайд 22</vt:lpstr>
      <vt:lpstr>Слайд 23</vt:lpstr>
      <vt:lpstr>Слайд 24</vt:lpstr>
      <vt:lpstr>Слайд 25</vt:lpstr>
      <vt:lpstr>Слайд 26</vt:lpstr>
      <vt:lpstr>Слайд 27</vt:lpstr>
      <vt:lpstr>Слайд 28</vt:lpstr>
      <vt:lpstr>Слайд 29</vt:lpstr>
      <vt:lpstr>Слайд 30</vt:lpstr>
      <vt:lpstr>Слайд 31</vt:lpstr>
      <vt:lpstr>Слайд 32</vt:lpstr>
      <vt:lpstr>Слайд 33</vt:lpstr>
      <vt:lpstr>Слайд 34</vt:lpstr>
      <vt:lpstr>Слайд 35</vt:lpstr>
      <vt:lpstr>Слайд 36</vt:lpstr>
      <vt:lpstr>Слайд 37</vt:lpstr>
      <vt:lpstr>Слайд 38</vt:lpstr>
      <vt:lpstr>Слайд 39</vt:lpstr>
      <vt:lpstr>Слайд 40</vt:lpstr>
      <vt:lpstr>Слайд 41</vt:lpstr>
      <vt:lpstr>Слайд 42</vt:lpstr>
      <vt:lpstr>Слайд 43</vt:lpstr>
      <vt:lpstr>Слайд 44</vt:lpstr>
      <vt:lpstr>Слайд 45</vt:lpstr>
      <vt:lpstr>Слайд 46</vt:lpstr>
      <vt:lpstr>Слайд 47</vt:lpstr>
      <vt:lpstr>Слайд 48</vt:lpstr>
      <vt:lpstr>Слайд 49</vt:lpstr>
      <vt:lpstr>Слайд 50</vt:lpstr>
      <vt:lpstr>Слайд 51</vt:lpstr>
      <vt:lpstr>Слайд 52</vt:lpstr>
      <vt:lpstr>Слайд 53</vt:lpstr>
      <vt:lpstr>Слайд 54</vt:lpstr>
      <vt:lpstr>Слайд 55</vt:lpstr>
      <vt:lpstr>Слайд 56</vt:lpstr>
      <vt:lpstr>Слайд 57</vt:lpstr>
      <vt:lpstr>Слайд 58</vt:lpstr>
      <vt:lpstr>Слайд 59</vt:lpstr>
      <vt:lpstr>Слайд 60</vt:lpstr>
      <vt:lpstr>Слайд 61</vt:lpstr>
      <vt:lpstr>Слайд 62</vt:lpstr>
      <vt:lpstr>Слайд 63</vt:lpstr>
      <vt:lpstr>Слайд 64</vt:lpstr>
      <vt:lpstr>Слайд 65</vt:lpstr>
      <vt:lpstr>Слайд 66</vt:lpstr>
      <vt:lpstr>Слайд 67</vt:lpstr>
      <vt:lpstr>Слайд 68</vt:lpstr>
      <vt:lpstr>Слайд 69</vt:lpstr>
      <vt:lpstr>Слайд 70</vt:lpstr>
      <vt:lpstr>Слайд 71</vt:lpstr>
      <vt:lpstr>Слайд 72</vt:lpstr>
      <vt:lpstr>Слайд 73</vt:lpstr>
      <vt:lpstr>Слайд 74</vt:lpstr>
      <vt:lpstr>Слайд 75</vt:lpstr>
      <vt:lpstr>Слайд 76</vt:lpstr>
      <vt:lpstr>Слайд 77</vt:lpstr>
      <vt:lpstr>Слайд 78</vt:lpstr>
      <vt:lpstr>Слайд 79</vt:lpstr>
      <vt:lpstr>Слайд 80</vt:lpstr>
    </vt:vector>
  </TitlesOfParts>
  <Company>Финуправление г.Железноводск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 NAME</dc:title>
  <dc:creator>ZhBrNG</dc:creator>
  <cp:lastModifiedBy>ZhvipNet</cp:lastModifiedBy>
  <cp:revision>4205</cp:revision>
  <dcterms:created xsi:type="dcterms:W3CDTF">2014-11-25T07:29:51Z</dcterms:created>
  <dcterms:modified xsi:type="dcterms:W3CDTF">2021-12-15T08:08:18Z</dcterms:modified>
</cp:coreProperties>
</file>